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23"/>
  </p:notesMasterIdLst>
  <p:sldIdLst>
    <p:sldId id="257" r:id="rId2"/>
    <p:sldId id="396" r:id="rId3"/>
    <p:sldId id="313" r:id="rId4"/>
    <p:sldId id="311" r:id="rId5"/>
    <p:sldId id="312" r:id="rId6"/>
    <p:sldId id="314" r:id="rId7"/>
    <p:sldId id="315" r:id="rId8"/>
    <p:sldId id="258" r:id="rId9"/>
    <p:sldId id="393" r:id="rId10"/>
    <p:sldId id="394" r:id="rId11"/>
    <p:sldId id="260" r:id="rId12"/>
    <p:sldId id="259" r:id="rId13"/>
    <p:sldId id="309" r:id="rId14"/>
    <p:sldId id="261" r:id="rId15"/>
    <p:sldId id="310" r:id="rId16"/>
    <p:sldId id="305" r:id="rId17"/>
    <p:sldId id="316" r:id="rId18"/>
    <p:sldId id="306" r:id="rId19"/>
    <p:sldId id="307" r:id="rId20"/>
    <p:sldId id="263" r:id="rId21"/>
    <p:sldId id="395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2F9EB4-4E26-413E-81BE-B036C8ACDCF9}" v="292" dt="2022-12-09T23:29:19.1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rendran S Selvaraju" userId="9b3a639a-eee1-41d1-b614-9dafc4af09f0" providerId="ADAL" clId="{D02F9EB4-4E26-413E-81BE-B036C8ACDCF9}"/>
    <pc:docChg chg="undo redo custSel addSld delSld modSld sldOrd modMainMaster">
      <pc:chgData name="Surendran S Selvaraju" userId="9b3a639a-eee1-41d1-b614-9dafc4af09f0" providerId="ADAL" clId="{D02F9EB4-4E26-413E-81BE-B036C8ACDCF9}" dt="2022-12-09T23:29:44.972" v="734" actId="1076"/>
      <pc:docMkLst>
        <pc:docMk/>
      </pc:docMkLst>
      <pc:sldChg chg="del">
        <pc:chgData name="Surendran S Selvaraju" userId="9b3a639a-eee1-41d1-b614-9dafc4af09f0" providerId="ADAL" clId="{D02F9EB4-4E26-413E-81BE-B036C8ACDCF9}" dt="2022-12-03T06:17:36.358" v="0" actId="47"/>
        <pc:sldMkLst>
          <pc:docMk/>
          <pc:sldMk cId="2104731869" sldId="256"/>
        </pc:sldMkLst>
      </pc:sldChg>
      <pc:sldChg chg="addSp delSp modSp mod setBg addAnim delAnim modAnim delDesignElem">
        <pc:chgData name="Surendran S Selvaraju" userId="9b3a639a-eee1-41d1-b614-9dafc4af09f0" providerId="ADAL" clId="{D02F9EB4-4E26-413E-81BE-B036C8ACDCF9}" dt="2022-12-03T13:51:46.281" v="669" actId="1076"/>
        <pc:sldMkLst>
          <pc:docMk/>
          <pc:sldMk cId="2548281996" sldId="257"/>
        </pc:sldMkLst>
        <pc:spChg chg="del mod">
          <ac:chgData name="Surendran S Selvaraju" userId="9b3a639a-eee1-41d1-b614-9dafc4af09f0" providerId="ADAL" clId="{D02F9EB4-4E26-413E-81BE-B036C8ACDCF9}" dt="2022-12-03T06:20:51.429" v="11" actId="21"/>
          <ac:spMkLst>
            <pc:docMk/>
            <pc:sldMk cId="2548281996" sldId="257"/>
            <ac:spMk id="2" creationId="{1163045D-C8F3-01CB-0BB3-5C3EB4E584D2}"/>
          </ac:spMkLst>
        </pc:spChg>
        <pc:spChg chg="add del">
          <ac:chgData name="Surendran S Selvaraju" userId="9b3a639a-eee1-41d1-b614-9dafc4af09f0" providerId="ADAL" clId="{D02F9EB4-4E26-413E-81BE-B036C8ACDCF9}" dt="2022-12-03T06:45:36.251" v="86"/>
          <ac:spMkLst>
            <pc:docMk/>
            <pc:sldMk cId="2548281996" sldId="257"/>
            <ac:spMk id="7" creationId="{73A25D70-4A55-4F72-B9C5-A69CDBF4DB42}"/>
          </ac:spMkLst>
        </pc:spChg>
        <pc:spChg chg="add del mod">
          <ac:chgData name="Surendran S Selvaraju" userId="9b3a639a-eee1-41d1-b614-9dafc4af09f0" providerId="ADAL" clId="{D02F9EB4-4E26-413E-81BE-B036C8ACDCF9}" dt="2022-12-03T06:21:15.546" v="19" actId="478"/>
          <ac:spMkLst>
            <pc:docMk/>
            <pc:sldMk cId="2548281996" sldId="257"/>
            <ac:spMk id="8" creationId="{8305D216-28C9-67A6-472F-54A4A541211A}"/>
          </ac:spMkLst>
        </pc:spChg>
        <pc:spChg chg="add del">
          <ac:chgData name="Surendran S Selvaraju" userId="9b3a639a-eee1-41d1-b614-9dafc4af09f0" providerId="ADAL" clId="{D02F9EB4-4E26-413E-81BE-B036C8ACDCF9}" dt="2022-12-03T06:45:36.251" v="86"/>
          <ac:spMkLst>
            <pc:docMk/>
            <pc:sldMk cId="2548281996" sldId="257"/>
            <ac:spMk id="9" creationId="{54957100-6D8B-4161-9F2F-C0A949EC84C4}"/>
          </ac:spMkLst>
        </pc:spChg>
        <pc:spChg chg="add mod">
          <ac:chgData name="Surendran S Selvaraju" userId="9b3a639a-eee1-41d1-b614-9dafc4af09f0" providerId="ADAL" clId="{D02F9EB4-4E26-413E-81BE-B036C8ACDCF9}" dt="2022-12-03T06:42:19.430" v="69" actId="1076"/>
          <ac:spMkLst>
            <pc:docMk/>
            <pc:sldMk cId="2548281996" sldId="257"/>
            <ac:spMk id="10" creationId="{353D19B6-F5A3-4BC1-D54A-20374FB851C8}"/>
          </ac:spMkLst>
        </pc:spChg>
        <pc:spChg chg="add del">
          <ac:chgData name="Surendran S Selvaraju" userId="9b3a639a-eee1-41d1-b614-9dafc4af09f0" providerId="ADAL" clId="{D02F9EB4-4E26-413E-81BE-B036C8ACDCF9}" dt="2022-12-03T06:45:36.251" v="86"/>
          <ac:spMkLst>
            <pc:docMk/>
            <pc:sldMk cId="2548281996" sldId="257"/>
            <ac:spMk id="11" creationId="{0BD8B065-EE51-4AE2-A94C-86249998FD7B}"/>
          </ac:spMkLst>
        </pc:spChg>
        <pc:grpChg chg="add del">
          <ac:chgData name="Surendran S Selvaraju" userId="9b3a639a-eee1-41d1-b614-9dafc4af09f0" providerId="ADAL" clId="{D02F9EB4-4E26-413E-81BE-B036C8ACDCF9}" dt="2022-12-03T06:45:36.251" v="86"/>
          <ac:grpSpMkLst>
            <pc:docMk/>
            <pc:sldMk cId="2548281996" sldId="257"/>
            <ac:grpSpMk id="13" creationId="{18999293-B054-4B57-A26F-D04C2BB11338}"/>
          </ac:grpSpMkLst>
        </pc:grpChg>
        <pc:grpChg chg="add del">
          <ac:chgData name="Surendran S Selvaraju" userId="9b3a639a-eee1-41d1-b614-9dafc4af09f0" providerId="ADAL" clId="{D02F9EB4-4E26-413E-81BE-B036C8ACDCF9}" dt="2022-12-03T06:45:36.251" v="86"/>
          <ac:grpSpMkLst>
            <pc:docMk/>
            <pc:sldMk cId="2548281996" sldId="257"/>
            <ac:grpSpMk id="19" creationId="{761945C4-D997-42F3-B59A-984CF0066715}"/>
          </ac:grpSpMkLst>
        </pc:grpChg>
        <pc:picChg chg="add del mod">
          <ac:chgData name="Surendran S Selvaraju" userId="9b3a639a-eee1-41d1-b614-9dafc4af09f0" providerId="ADAL" clId="{D02F9EB4-4E26-413E-81BE-B036C8ACDCF9}" dt="2022-12-03T06:44:44.408" v="78" actId="478"/>
          <ac:picMkLst>
            <pc:docMk/>
            <pc:sldMk cId="2548281996" sldId="257"/>
            <ac:picMk id="5" creationId="{23962DE4-B752-533A-20AF-D2E46D963400}"/>
          </ac:picMkLst>
        </pc:picChg>
        <pc:picChg chg="add del mod modCrop">
          <ac:chgData name="Surendran S Selvaraju" userId="9b3a639a-eee1-41d1-b614-9dafc4af09f0" providerId="ADAL" clId="{D02F9EB4-4E26-413E-81BE-B036C8ACDCF9}" dt="2022-12-03T06:24:37.464" v="31" actId="478"/>
          <ac:picMkLst>
            <pc:docMk/>
            <pc:sldMk cId="2548281996" sldId="257"/>
            <ac:picMk id="12" creationId="{BD306FA8-2094-7A87-EAC8-1F6C7558AA54}"/>
          </ac:picMkLst>
        </pc:picChg>
        <pc:picChg chg="add del mod">
          <ac:chgData name="Surendran S Selvaraju" userId="9b3a639a-eee1-41d1-b614-9dafc4af09f0" providerId="ADAL" clId="{D02F9EB4-4E26-413E-81BE-B036C8ACDCF9}" dt="2022-12-03T06:44:40.789" v="76" actId="478"/>
          <ac:picMkLst>
            <pc:docMk/>
            <pc:sldMk cId="2548281996" sldId="257"/>
            <ac:picMk id="24" creationId="{1B7ABDC3-809D-7CEE-64E6-28CC7F283323}"/>
          </ac:picMkLst>
        </pc:picChg>
        <pc:picChg chg="add del mod">
          <ac:chgData name="Surendran S Selvaraju" userId="9b3a639a-eee1-41d1-b614-9dafc4af09f0" providerId="ADAL" clId="{D02F9EB4-4E26-413E-81BE-B036C8ACDCF9}" dt="2022-12-03T06:44:45.620" v="79" actId="478"/>
          <ac:picMkLst>
            <pc:docMk/>
            <pc:sldMk cId="2548281996" sldId="257"/>
            <ac:picMk id="25" creationId="{5FBDE935-B5F4-0345-DB42-F8A87528D405}"/>
          </ac:picMkLst>
        </pc:picChg>
        <pc:picChg chg="add del">
          <ac:chgData name="Surendran S Selvaraju" userId="9b3a639a-eee1-41d1-b614-9dafc4af09f0" providerId="ADAL" clId="{D02F9EB4-4E26-413E-81BE-B036C8ACDCF9}" dt="2022-12-03T13:50:49.033" v="664" actId="478"/>
          <ac:picMkLst>
            <pc:docMk/>
            <pc:sldMk cId="2548281996" sldId="257"/>
            <ac:picMk id="26" creationId="{372A378A-9A9A-DCF2-39BD-740B36E4EE1F}"/>
          </ac:picMkLst>
        </pc:picChg>
        <pc:picChg chg="add mod">
          <ac:chgData name="Surendran S Selvaraju" userId="9b3a639a-eee1-41d1-b614-9dafc4af09f0" providerId="ADAL" clId="{D02F9EB4-4E26-413E-81BE-B036C8ACDCF9}" dt="2022-12-03T13:51:46.281" v="669" actId="1076"/>
          <ac:picMkLst>
            <pc:docMk/>
            <pc:sldMk cId="2548281996" sldId="257"/>
            <ac:picMk id="28" creationId="{00ECF92B-8530-DB00-1F0D-AB9A26ACA587}"/>
          </ac:picMkLst>
        </pc:picChg>
        <pc:picChg chg="add del mod">
          <ac:chgData name="Surendran S Selvaraju" userId="9b3a639a-eee1-41d1-b614-9dafc4af09f0" providerId="ADAL" clId="{D02F9EB4-4E26-413E-81BE-B036C8ACDCF9}" dt="2022-12-03T06:24:58.937" v="35"/>
          <ac:picMkLst>
            <pc:docMk/>
            <pc:sldMk cId="2548281996" sldId="257"/>
            <ac:picMk id="3074" creationId="{104B3095-E1D0-8BA0-A03D-C464839E59FE}"/>
          </ac:picMkLst>
        </pc:picChg>
      </pc:sldChg>
      <pc:sldChg chg="addSp modSp">
        <pc:chgData name="Surendran S Selvaraju" userId="9b3a639a-eee1-41d1-b614-9dafc4af09f0" providerId="ADAL" clId="{D02F9EB4-4E26-413E-81BE-B036C8ACDCF9}" dt="2022-12-03T14:04:24.677" v="681" actId="14100"/>
        <pc:sldMkLst>
          <pc:docMk/>
          <pc:sldMk cId="1441648151" sldId="258"/>
        </pc:sldMkLst>
        <pc:picChg chg="mod">
          <ac:chgData name="Surendran S Selvaraju" userId="9b3a639a-eee1-41d1-b614-9dafc4af09f0" providerId="ADAL" clId="{D02F9EB4-4E26-413E-81BE-B036C8ACDCF9}" dt="2022-12-03T11:23:47.444" v="451" actId="1076"/>
          <ac:picMkLst>
            <pc:docMk/>
            <pc:sldMk cId="1441648151" sldId="258"/>
            <ac:picMk id="1026" creationId="{AE7F9043-B835-DDDB-EB5D-D9BEE8A81942}"/>
          </ac:picMkLst>
        </pc:picChg>
        <pc:picChg chg="add mod">
          <ac:chgData name="Surendran S Selvaraju" userId="9b3a639a-eee1-41d1-b614-9dafc4af09f0" providerId="ADAL" clId="{D02F9EB4-4E26-413E-81BE-B036C8ACDCF9}" dt="2022-12-03T14:04:24.677" v="681" actId="14100"/>
          <ac:picMkLst>
            <pc:docMk/>
            <pc:sldMk cId="1441648151" sldId="258"/>
            <ac:picMk id="1028" creationId="{58D61EFF-C89C-5BBC-6EB3-614BE4AD97D5}"/>
          </ac:picMkLst>
        </pc:picChg>
      </pc:sldChg>
      <pc:sldChg chg="modSp mod ord">
        <pc:chgData name="Surendran S Selvaraju" userId="9b3a639a-eee1-41d1-b614-9dafc4af09f0" providerId="ADAL" clId="{D02F9EB4-4E26-413E-81BE-B036C8ACDCF9}" dt="2022-12-03T13:38:26.319" v="508" actId="20578"/>
        <pc:sldMkLst>
          <pc:docMk/>
          <pc:sldMk cId="329205669" sldId="259"/>
        </pc:sldMkLst>
        <pc:spChg chg="mod">
          <ac:chgData name="Surendran S Selvaraju" userId="9b3a639a-eee1-41d1-b614-9dafc4af09f0" providerId="ADAL" clId="{D02F9EB4-4E26-413E-81BE-B036C8ACDCF9}" dt="2022-12-03T06:46:14.363" v="95" actId="1076"/>
          <ac:spMkLst>
            <pc:docMk/>
            <pc:sldMk cId="329205669" sldId="259"/>
            <ac:spMk id="7" creationId="{F5269ED5-D099-7408-2D1B-C6D1C8F18058}"/>
          </ac:spMkLst>
        </pc:spChg>
        <pc:picChg chg="mod">
          <ac:chgData name="Surendran S Selvaraju" userId="9b3a639a-eee1-41d1-b614-9dafc4af09f0" providerId="ADAL" clId="{D02F9EB4-4E26-413E-81BE-B036C8ACDCF9}" dt="2022-12-03T06:46:11.050" v="94" actId="1076"/>
          <ac:picMkLst>
            <pc:docMk/>
            <pc:sldMk cId="329205669" sldId="259"/>
            <ac:picMk id="5" creationId="{9DCAD25F-1BF5-7C46-2C24-E8B7024005DC}"/>
          </ac:picMkLst>
        </pc:picChg>
      </pc:sldChg>
      <pc:sldChg chg="modSp mod ord">
        <pc:chgData name="Surendran S Selvaraju" userId="9b3a639a-eee1-41d1-b614-9dafc4af09f0" providerId="ADAL" clId="{D02F9EB4-4E26-413E-81BE-B036C8ACDCF9}" dt="2022-12-03T13:39:33.338" v="510"/>
        <pc:sldMkLst>
          <pc:docMk/>
          <pc:sldMk cId="3909420059" sldId="260"/>
        </pc:sldMkLst>
        <pc:spChg chg="mod">
          <ac:chgData name="Surendran S Selvaraju" userId="9b3a639a-eee1-41d1-b614-9dafc4af09f0" providerId="ADAL" clId="{D02F9EB4-4E26-413E-81BE-B036C8ACDCF9}" dt="2022-12-03T06:46:05.484" v="92" actId="1076"/>
          <ac:spMkLst>
            <pc:docMk/>
            <pc:sldMk cId="3909420059" sldId="260"/>
            <ac:spMk id="7" creationId="{DDC1403A-0C11-9C34-DFB1-71397ED41846}"/>
          </ac:spMkLst>
        </pc:spChg>
        <pc:picChg chg="mod">
          <ac:chgData name="Surendran S Selvaraju" userId="9b3a639a-eee1-41d1-b614-9dafc4af09f0" providerId="ADAL" clId="{D02F9EB4-4E26-413E-81BE-B036C8ACDCF9}" dt="2022-12-03T06:46:01.402" v="91" actId="1076"/>
          <ac:picMkLst>
            <pc:docMk/>
            <pc:sldMk cId="3909420059" sldId="260"/>
            <ac:picMk id="5" creationId="{FFD7505E-E101-F081-EC5F-4A354B2C5B18}"/>
          </ac:picMkLst>
        </pc:picChg>
      </pc:sldChg>
      <pc:sldChg chg="addSp modSp mod">
        <pc:chgData name="Surendran S Selvaraju" userId="9b3a639a-eee1-41d1-b614-9dafc4af09f0" providerId="ADAL" clId="{D02F9EB4-4E26-413E-81BE-B036C8ACDCF9}" dt="2022-12-03T06:53:32.821" v="173" actId="20577"/>
        <pc:sldMkLst>
          <pc:docMk/>
          <pc:sldMk cId="979317048" sldId="261"/>
        </pc:sldMkLst>
        <pc:spChg chg="add mod">
          <ac:chgData name="Surendran S Selvaraju" userId="9b3a639a-eee1-41d1-b614-9dafc4af09f0" providerId="ADAL" clId="{D02F9EB4-4E26-413E-81BE-B036C8ACDCF9}" dt="2022-12-03T06:53:32.821" v="173" actId="20577"/>
          <ac:spMkLst>
            <pc:docMk/>
            <pc:sldMk cId="979317048" sldId="261"/>
            <ac:spMk id="5" creationId="{2997EDCF-1BD9-DB39-620F-0AA778898AF2}"/>
          </ac:spMkLst>
        </pc:spChg>
        <pc:picChg chg="mod">
          <ac:chgData name="Surendran S Selvaraju" userId="9b3a639a-eee1-41d1-b614-9dafc4af09f0" providerId="ADAL" clId="{D02F9EB4-4E26-413E-81BE-B036C8ACDCF9}" dt="2022-12-03T06:49:14.648" v="116" actId="1076"/>
          <ac:picMkLst>
            <pc:docMk/>
            <pc:sldMk cId="979317048" sldId="261"/>
            <ac:picMk id="2050" creationId="{9CBC5924-7EA9-C5F1-3867-1DA607D78B5E}"/>
          </ac:picMkLst>
        </pc:picChg>
      </pc:sldChg>
      <pc:sldChg chg="modSp mod ord modClrScheme chgLayout">
        <pc:chgData name="Surendran S Selvaraju" userId="9b3a639a-eee1-41d1-b614-9dafc4af09f0" providerId="ADAL" clId="{D02F9EB4-4E26-413E-81BE-B036C8ACDCF9}" dt="2022-12-03T13:38:18.160" v="505" actId="20578"/>
        <pc:sldMkLst>
          <pc:docMk/>
          <pc:sldMk cId="0" sldId="263"/>
        </pc:sldMkLst>
        <pc:spChg chg="mod">
          <ac:chgData name="Surendran S Selvaraju" userId="9b3a639a-eee1-41d1-b614-9dafc4af09f0" providerId="ADAL" clId="{D02F9EB4-4E26-413E-81BE-B036C8ACDCF9}" dt="2022-12-03T06:45:40.733" v="88"/>
          <ac:spMkLst>
            <pc:docMk/>
            <pc:sldMk cId="0" sldId="263"/>
            <ac:spMk id="31746" creationId="{33F74848-1C91-455B-4D72-36C586313E69}"/>
          </ac:spMkLst>
        </pc:spChg>
        <pc:spChg chg="mod ord">
          <ac:chgData name="Surendran S Selvaraju" userId="9b3a639a-eee1-41d1-b614-9dafc4af09f0" providerId="ADAL" clId="{D02F9EB4-4E26-413E-81BE-B036C8ACDCF9}" dt="2022-12-03T06:47:12.018" v="99" actId="2711"/>
          <ac:spMkLst>
            <pc:docMk/>
            <pc:sldMk cId="0" sldId="263"/>
            <ac:spMk id="31747" creationId="{FC55A26F-AA49-A295-3117-21FDA870B121}"/>
          </ac:spMkLst>
        </pc:spChg>
        <pc:spChg chg="mod ord">
          <ac:chgData name="Surendran S Selvaraju" userId="9b3a639a-eee1-41d1-b614-9dafc4af09f0" providerId="ADAL" clId="{D02F9EB4-4E26-413E-81BE-B036C8ACDCF9}" dt="2022-12-03T06:50:18.762" v="123" actId="1076"/>
          <ac:spMkLst>
            <pc:docMk/>
            <pc:sldMk cId="0" sldId="263"/>
            <ac:spMk id="31748" creationId="{BC5DFC14-73F1-7615-FE96-4D92D9D1451C}"/>
          </ac:spMkLst>
        </pc:spChg>
      </pc:sldChg>
      <pc:sldChg chg="modSp mod">
        <pc:chgData name="Surendran S Selvaraju" userId="9b3a639a-eee1-41d1-b614-9dafc4af09f0" providerId="ADAL" clId="{D02F9EB4-4E26-413E-81BE-B036C8ACDCF9}" dt="2022-12-03T06:54:15.740" v="176" actId="12"/>
        <pc:sldMkLst>
          <pc:docMk/>
          <pc:sldMk cId="0" sldId="305"/>
        </pc:sldMkLst>
        <pc:spChg chg="mod">
          <ac:chgData name="Surendran S Selvaraju" userId="9b3a639a-eee1-41d1-b614-9dafc4af09f0" providerId="ADAL" clId="{D02F9EB4-4E26-413E-81BE-B036C8ACDCF9}" dt="2022-12-03T06:45:40.733" v="88"/>
          <ac:spMkLst>
            <pc:docMk/>
            <pc:sldMk cId="0" sldId="305"/>
            <ac:spMk id="29698" creationId="{BAFCA51C-3A34-B808-7745-760F56E2224C}"/>
          </ac:spMkLst>
        </pc:spChg>
        <pc:spChg chg="mod">
          <ac:chgData name="Surendran S Selvaraju" userId="9b3a639a-eee1-41d1-b614-9dafc4af09f0" providerId="ADAL" clId="{D02F9EB4-4E26-413E-81BE-B036C8ACDCF9}" dt="2022-12-03T06:48:27.512" v="109" actId="255"/>
          <ac:spMkLst>
            <pc:docMk/>
            <pc:sldMk cId="0" sldId="305"/>
            <ac:spMk id="29699" creationId="{72C06192-6AAA-47D2-422C-A7E107BBDD26}"/>
          </ac:spMkLst>
        </pc:spChg>
        <pc:spChg chg="mod">
          <ac:chgData name="Surendran S Selvaraju" userId="9b3a639a-eee1-41d1-b614-9dafc4af09f0" providerId="ADAL" clId="{D02F9EB4-4E26-413E-81BE-B036C8ACDCF9}" dt="2022-12-03T06:54:15.740" v="176" actId="12"/>
          <ac:spMkLst>
            <pc:docMk/>
            <pc:sldMk cId="0" sldId="305"/>
            <ac:spMk id="29700" creationId="{C0F9A399-D36A-69EF-3B3C-4DFA95DA8D75}"/>
          </ac:spMkLst>
        </pc:spChg>
      </pc:sldChg>
      <pc:sldChg chg="modSp mod ord">
        <pc:chgData name="Surendran S Selvaraju" userId="9b3a639a-eee1-41d1-b614-9dafc4af09f0" providerId="ADAL" clId="{D02F9EB4-4E26-413E-81BE-B036C8ACDCF9}" dt="2022-12-03T13:38:16.567" v="504" actId="20578"/>
        <pc:sldMkLst>
          <pc:docMk/>
          <pc:sldMk cId="0" sldId="306"/>
        </pc:sldMkLst>
        <pc:spChg chg="mod">
          <ac:chgData name="Surendran S Selvaraju" userId="9b3a639a-eee1-41d1-b614-9dafc4af09f0" providerId="ADAL" clId="{D02F9EB4-4E26-413E-81BE-B036C8ACDCF9}" dt="2022-12-03T06:45:40.733" v="88"/>
          <ac:spMkLst>
            <pc:docMk/>
            <pc:sldMk cId="0" sldId="306"/>
            <ac:spMk id="1027" creationId="{0C8EED04-66F3-32D2-093E-8292932A49E9}"/>
          </ac:spMkLst>
        </pc:spChg>
        <pc:spChg chg="mod">
          <ac:chgData name="Surendran S Selvaraju" userId="9b3a639a-eee1-41d1-b614-9dafc4af09f0" providerId="ADAL" clId="{D02F9EB4-4E26-413E-81BE-B036C8ACDCF9}" dt="2022-12-03T06:48:46.644" v="111" actId="2711"/>
          <ac:spMkLst>
            <pc:docMk/>
            <pc:sldMk cId="0" sldId="306"/>
            <ac:spMk id="1028" creationId="{230EB13D-0D83-10D5-6ECF-E553BFB7F212}"/>
          </ac:spMkLst>
        </pc:spChg>
        <pc:spChg chg="mod">
          <ac:chgData name="Surendran S Selvaraju" userId="9b3a639a-eee1-41d1-b614-9dafc4af09f0" providerId="ADAL" clId="{D02F9EB4-4E26-413E-81BE-B036C8ACDCF9}" dt="2022-12-03T06:48:05.725" v="107" actId="255"/>
          <ac:spMkLst>
            <pc:docMk/>
            <pc:sldMk cId="0" sldId="306"/>
            <ac:spMk id="1029" creationId="{4991995B-4A90-89D5-1EA1-8DCDD30150FC}"/>
          </ac:spMkLst>
        </pc:spChg>
        <pc:spChg chg="mod">
          <ac:chgData name="Surendran S Selvaraju" userId="9b3a639a-eee1-41d1-b614-9dafc4af09f0" providerId="ADAL" clId="{D02F9EB4-4E26-413E-81BE-B036C8ACDCF9}" dt="2022-12-03T06:49:50.639" v="121" actId="2711"/>
          <ac:spMkLst>
            <pc:docMk/>
            <pc:sldMk cId="0" sldId="306"/>
            <ac:spMk id="1030" creationId="{3889DCE8-2FB1-1312-9A58-CA8A6AE4CE1E}"/>
          </ac:spMkLst>
        </pc:spChg>
      </pc:sldChg>
      <pc:sldChg chg="modSp mod">
        <pc:chgData name="Surendran S Selvaraju" userId="9b3a639a-eee1-41d1-b614-9dafc4af09f0" providerId="ADAL" clId="{D02F9EB4-4E26-413E-81BE-B036C8ACDCF9}" dt="2022-12-03T06:47:44.165" v="103" actId="255"/>
        <pc:sldMkLst>
          <pc:docMk/>
          <pc:sldMk cId="0" sldId="307"/>
        </pc:sldMkLst>
        <pc:spChg chg="mod">
          <ac:chgData name="Surendran S Selvaraju" userId="9b3a639a-eee1-41d1-b614-9dafc4af09f0" providerId="ADAL" clId="{D02F9EB4-4E26-413E-81BE-B036C8ACDCF9}" dt="2022-12-03T06:45:40.733" v="88"/>
          <ac:spMkLst>
            <pc:docMk/>
            <pc:sldMk cId="0" sldId="307"/>
            <ac:spMk id="2053" creationId="{75FA152F-9859-8D6D-3225-51EF914D2C5B}"/>
          </ac:spMkLst>
        </pc:spChg>
        <pc:spChg chg="mod">
          <ac:chgData name="Surendran S Selvaraju" userId="9b3a639a-eee1-41d1-b614-9dafc4af09f0" providerId="ADAL" clId="{D02F9EB4-4E26-413E-81BE-B036C8ACDCF9}" dt="2022-12-03T06:47:30.692" v="101" actId="2711"/>
          <ac:spMkLst>
            <pc:docMk/>
            <pc:sldMk cId="0" sldId="307"/>
            <ac:spMk id="2054" creationId="{F39FE7C8-9863-5B13-FB83-0DD99B98855B}"/>
          </ac:spMkLst>
        </pc:spChg>
        <pc:spChg chg="mod">
          <ac:chgData name="Surendran S Selvaraju" userId="9b3a639a-eee1-41d1-b614-9dafc4af09f0" providerId="ADAL" clId="{D02F9EB4-4E26-413E-81BE-B036C8ACDCF9}" dt="2022-12-03T06:47:44.165" v="103" actId="255"/>
          <ac:spMkLst>
            <pc:docMk/>
            <pc:sldMk cId="0" sldId="307"/>
            <ac:spMk id="2055" creationId="{3041ACF8-E4D6-93F3-F375-0F342C7A0CDF}"/>
          </ac:spMkLst>
        </pc:spChg>
      </pc:sldChg>
      <pc:sldChg chg="addSp modSp mod ord">
        <pc:chgData name="Surendran S Selvaraju" userId="9b3a639a-eee1-41d1-b614-9dafc4af09f0" providerId="ADAL" clId="{D02F9EB4-4E26-413E-81BE-B036C8ACDCF9}" dt="2022-12-03T11:25:10.296" v="455" actId="14100"/>
        <pc:sldMkLst>
          <pc:docMk/>
          <pc:sldMk cId="0" sldId="309"/>
        </pc:sldMkLst>
        <pc:spChg chg="mod">
          <ac:chgData name="Surendran S Selvaraju" userId="9b3a639a-eee1-41d1-b614-9dafc4af09f0" providerId="ADAL" clId="{D02F9EB4-4E26-413E-81BE-B036C8ACDCF9}" dt="2022-12-03T06:45:40.733" v="88"/>
          <ac:spMkLst>
            <pc:docMk/>
            <pc:sldMk cId="0" sldId="309"/>
            <ac:spMk id="27650" creationId="{1E03C95C-4417-DB8F-D7CD-711C7A21DE2D}"/>
          </ac:spMkLst>
        </pc:spChg>
        <pc:spChg chg="mod">
          <ac:chgData name="Surendran S Selvaraju" userId="9b3a639a-eee1-41d1-b614-9dafc4af09f0" providerId="ADAL" clId="{D02F9EB4-4E26-413E-81BE-B036C8ACDCF9}" dt="2022-12-03T07:30:53.640" v="208" actId="207"/>
          <ac:spMkLst>
            <pc:docMk/>
            <pc:sldMk cId="0" sldId="309"/>
            <ac:spMk id="27651" creationId="{F080B83B-616A-7B11-C902-4AC6A8D86589}"/>
          </ac:spMkLst>
        </pc:spChg>
        <pc:spChg chg="mod">
          <ac:chgData name="Surendran S Selvaraju" userId="9b3a639a-eee1-41d1-b614-9dafc4af09f0" providerId="ADAL" clId="{D02F9EB4-4E26-413E-81BE-B036C8ACDCF9}" dt="2022-12-03T07:30:50.387" v="207" actId="207"/>
          <ac:spMkLst>
            <pc:docMk/>
            <pc:sldMk cId="0" sldId="309"/>
            <ac:spMk id="27652" creationId="{8C4726EE-FE26-27AE-4ED9-BFE758685AF0}"/>
          </ac:spMkLst>
        </pc:spChg>
        <pc:picChg chg="add mod">
          <ac:chgData name="Surendran S Selvaraju" userId="9b3a639a-eee1-41d1-b614-9dafc4af09f0" providerId="ADAL" clId="{D02F9EB4-4E26-413E-81BE-B036C8ACDCF9}" dt="2022-12-03T11:25:10.296" v="455" actId="14100"/>
          <ac:picMkLst>
            <pc:docMk/>
            <pc:sldMk cId="0" sldId="309"/>
            <ac:picMk id="2" creationId="{57A20665-2547-20C6-4998-5080B6FC4619}"/>
          </ac:picMkLst>
        </pc:picChg>
      </pc:sldChg>
      <pc:sldChg chg="modSp mod">
        <pc:chgData name="Surendran S Selvaraju" userId="9b3a639a-eee1-41d1-b614-9dafc4af09f0" providerId="ADAL" clId="{D02F9EB4-4E26-413E-81BE-B036C8ACDCF9}" dt="2022-12-03T06:54:05.849" v="175" actId="1076"/>
        <pc:sldMkLst>
          <pc:docMk/>
          <pc:sldMk cId="3119624145" sldId="310"/>
        </pc:sldMkLst>
        <pc:picChg chg="mod">
          <ac:chgData name="Surendran S Selvaraju" userId="9b3a639a-eee1-41d1-b614-9dafc4af09f0" providerId="ADAL" clId="{D02F9EB4-4E26-413E-81BE-B036C8ACDCF9}" dt="2022-12-03T06:54:05.849" v="175" actId="1076"/>
          <ac:picMkLst>
            <pc:docMk/>
            <pc:sldMk cId="3119624145" sldId="310"/>
            <ac:picMk id="4" creationId="{348AD0C3-DF07-C98B-203B-44615E78C4FD}"/>
          </ac:picMkLst>
        </pc:picChg>
      </pc:sldChg>
      <pc:sldChg chg="addSp modSp new mod">
        <pc:chgData name="Surendran S Selvaraju" userId="9b3a639a-eee1-41d1-b614-9dafc4af09f0" providerId="ADAL" clId="{D02F9EB4-4E26-413E-81BE-B036C8ACDCF9}" dt="2022-12-03T11:20:40.223" v="444" actId="14100"/>
        <pc:sldMkLst>
          <pc:docMk/>
          <pc:sldMk cId="97976941" sldId="311"/>
        </pc:sldMkLst>
        <pc:spChg chg="mod">
          <ac:chgData name="Surendran S Selvaraju" userId="9b3a639a-eee1-41d1-b614-9dafc4af09f0" providerId="ADAL" clId="{D02F9EB4-4E26-413E-81BE-B036C8ACDCF9}" dt="2022-12-03T08:06:04.110" v="385" actId="14100"/>
          <ac:spMkLst>
            <pc:docMk/>
            <pc:sldMk cId="97976941" sldId="311"/>
            <ac:spMk id="2" creationId="{FB3F9895-1620-0C0D-CA51-92B56A0ADD8A}"/>
          </ac:spMkLst>
        </pc:spChg>
        <pc:spChg chg="mod">
          <ac:chgData name="Surendran S Selvaraju" userId="9b3a639a-eee1-41d1-b614-9dafc4af09f0" providerId="ADAL" clId="{D02F9EB4-4E26-413E-81BE-B036C8ACDCF9}" dt="2022-12-03T07:56:33.500" v="358" actId="255"/>
          <ac:spMkLst>
            <pc:docMk/>
            <pc:sldMk cId="97976941" sldId="311"/>
            <ac:spMk id="3" creationId="{74699955-2C77-BCE9-AA0C-247643A402F5}"/>
          </ac:spMkLst>
        </pc:spChg>
        <pc:picChg chg="add mod">
          <ac:chgData name="Surendran S Selvaraju" userId="9b3a639a-eee1-41d1-b614-9dafc4af09f0" providerId="ADAL" clId="{D02F9EB4-4E26-413E-81BE-B036C8ACDCF9}" dt="2022-12-03T11:19:03.511" v="440" actId="1076"/>
          <ac:picMkLst>
            <pc:docMk/>
            <pc:sldMk cId="97976941" sldId="311"/>
            <ac:picMk id="13314" creationId="{7B57CE88-4D58-7E18-17F2-EAE3F8C9F024}"/>
          </ac:picMkLst>
        </pc:picChg>
        <pc:picChg chg="add mod">
          <ac:chgData name="Surendran S Selvaraju" userId="9b3a639a-eee1-41d1-b614-9dafc4af09f0" providerId="ADAL" clId="{D02F9EB4-4E26-413E-81BE-B036C8ACDCF9}" dt="2022-12-03T11:20:40.223" v="444" actId="14100"/>
          <ac:picMkLst>
            <pc:docMk/>
            <pc:sldMk cId="97976941" sldId="311"/>
            <ac:picMk id="13316" creationId="{01E80C45-8091-688E-E321-914C53071F1A}"/>
          </ac:picMkLst>
        </pc:picChg>
      </pc:sldChg>
      <pc:sldChg chg="addSp delSp modSp new mod">
        <pc:chgData name="Surendran S Selvaraju" userId="9b3a639a-eee1-41d1-b614-9dafc4af09f0" providerId="ADAL" clId="{D02F9EB4-4E26-413E-81BE-B036C8ACDCF9}" dt="2022-12-03T08:06:16.969" v="396" actId="20577"/>
        <pc:sldMkLst>
          <pc:docMk/>
          <pc:sldMk cId="499080704" sldId="312"/>
        </pc:sldMkLst>
        <pc:spChg chg="del">
          <ac:chgData name="Surendran S Selvaraju" userId="9b3a639a-eee1-41d1-b614-9dafc4af09f0" providerId="ADAL" clId="{D02F9EB4-4E26-413E-81BE-B036C8ACDCF9}" dt="2022-12-03T07:33:16.383" v="215" actId="478"/>
          <ac:spMkLst>
            <pc:docMk/>
            <pc:sldMk cId="499080704" sldId="312"/>
            <ac:spMk id="2" creationId="{89547C8D-CAFE-B308-1527-CECEE88D0F72}"/>
          </ac:spMkLst>
        </pc:spChg>
        <pc:spChg chg="del">
          <ac:chgData name="Surendran S Selvaraju" userId="9b3a639a-eee1-41d1-b614-9dafc4af09f0" providerId="ADAL" clId="{D02F9EB4-4E26-413E-81BE-B036C8ACDCF9}" dt="2022-12-03T07:33:14.974" v="214" actId="478"/>
          <ac:spMkLst>
            <pc:docMk/>
            <pc:sldMk cId="499080704" sldId="312"/>
            <ac:spMk id="3" creationId="{673A55D0-AC30-8B4B-8CD8-8E501D8EC1F9}"/>
          </ac:spMkLst>
        </pc:spChg>
        <pc:spChg chg="add mod">
          <ac:chgData name="Surendran S Selvaraju" userId="9b3a639a-eee1-41d1-b614-9dafc4af09f0" providerId="ADAL" clId="{D02F9EB4-4E26-413E-81BE-B036C8ACDCF9}" dt="2022-12-03T08:06:16.969" v="396" actId="20577"/>
          <ac:spMkLst>
            <pc:docMk/>
            <pc:sldMk cId="499080704" sldId="312"/>
            <ac:spMk id="4" creationId="{508A4A45-0ACD-AAC3-3A70-47922FF3ED1B}"/>
          </ac:spMkLst>
        </pc:spChg>
        <pc:picChg chg="add mod">
          <ac:chgData name="Surendran S Selvaraju" userId="9b3a639a-eee1-41d1-b614-9dafc4af09f0" providerId="ADAL" clId="{D02F9EB4-4E26-413E-81BE-B036C8ACDCF9}" dt="2022-12-03T07:33:23.454" v="219" actId="1076"/>
          <ac:picMkLst>
            <pc:docMk/>
            <pc:sldMk cId="499080704" sldId="312"/>
            <ac:picMk id="10242" creationId="{52E6D5F3-B3AC-49BB-6F33-2E88B890084A}"/>
          </ac:picMkLst>
        </pc:picChg>
      </pc:sldChg>
      <pc:sldChg chg="addSp delSp modSp new mod">
        <pc:chgData name="Surendran S Selvaraju" userId="9b3a639a-eee1-41d1-b614-9dafc4af09f0" providerId="ADAL" clId="{D02F9EB4-4E26-413E-81BE-B036C8ACDCF9}" dt="2022-12-03T07:54:59.589" v="356" actId="20577"/>
        <pc:sldMkLst>
          <pc:docMk/>
          <pc:sldMk cId="569544096" sldId="313"/>
        </pc:sldMkLst>
        <pc:spChg chg="del">
          <ac:chgData name="Surendran S Selvaraju" userId="9b3a639a-eee1-41d1-b614-9dafc4af09f0" providerId="ADAL" clId="{D02F9EB4-4E26-413E-81BE-B036C8ACDCF9}" dt="2022-12-03T07:40:52.621" v="224" actId="478"/>
          <ac:spMkLst>
            <pc:docMk/>
            <pc:sldMk cId="569544096" sldId="313"/>
            <ac:spMk id="2" creationId="{CB3797FA-ED19-F528-AE43-13B20059A632}"/>
          </ac:spMkLst>
        </pc:spChg>
        <pc:spChg chg="add del">
          <ac:chgData name="Surendran S Selvaraju" userId="9b3a639a-eee1-41d1-b614-9dafc4af09f0" providerId="ADAL" clId="{D02F9EB4-4E26-413E-81BE-B036C8ACDCF9}" dt="2022-12-03T07:40:50.563" v="223" actId="478"/>
          <ac:spMkLst>
            <pc:docMk/>
            <pc:sldMk cId="569544096" sldId="313"/>
            <ac:spMk id="3" creationId="{2122FE0E-A6A0-4F59-8C09-DF3E78CB030D}"/>
          </ac:spMkLst>
        </pc:spChg>
        <pc:spChg chg="add del mod">
          <ac:chgData name="Surendran S Selvaraju" userId="9b3a639a-eee1-41d1-b614-9dafc4af09f0" providerId="ADAL" clId="{D02F9EB4-4E26-413E-81BE-B036C8ACDCF9}" dt="2022-12-03T07:40:47.764" v="222"/>
          <ac:spMkLst>
            <pc:docMk/>
            <pc:sldMk cId="569544096" sldId="313"/>
            <ac:spMk id="5" creationId="{6223330A-CE53-AF06-CFB6-BD4224B0AA63}"/>
          </ac:spMkLst>
        </pc:spChg>
        <pc:spChg chg="add del mod">
          <ac:chgData name="Surendran S Selvaraju" userId="9b3a639a-eee1-41d1-b614-9dafc4af09f0" providerId="ADAL" clId="{D02F9EB4-4E26-413E-81BE-B036C8ACDCF9}" dt="2022-12-03T07:40:57.820" v="226"/>
          <ac:spMkLst>
            <pc:docMk/>
            <pc:sldMk cId="569544096" sldId="313"/>
            <ac:spMk id="7" creationId="{E84B1AB7-B71A-A2B0-F8B2-1E7B19B0C62F}"/>
          </ac:spMkLst>
        </pc:spChg>
        <pc:spChg chg="add mod">
          <ac:chgData name="Surendran S Selvaraju" userId="9b3a639a-eee1-41d1-b614-9dafc4af09f0" providerId="ADAL" clId="{D02F9EB4-4E26-413E-81BE-B036C8ACDCF9}" dt="2022-12-03T07:42:07.335" v="245" actId="20577"/>
          <ac:spMkLst>
            <pc:docMk/>
            <pc:sldMk cId="569544096" sldId="313"/>
            <ac:spMk id="8" creationId="{2DAEDB52-8CCC-7D0F-F307-889E7A8545DA}"/>
          </ac:spMkLst>
        </pc:spChg>
        <pc:spChg chg="add mod">
          <ac:chgData name="Surendran S Selvaraju" userId="9b3a639a-eee1-41d1-b614-9dafc4af09f0" providerId="ADAL" clId="{D02F9EB4-4E26-413E-81BE-B036C8ACDCF9}" dt="2022-12-03T07:49:17.847" v="308" actId="123"/>
          <ac:spMkLst>
            <pc:docMk/>
            <pc:sldMk cId="569544096" sldId="313"/>
            <ac:spMk id="9" creationId="{DBC4C753-698D-1765-E1C2-5B5B276474B0}"/>
          </ac:spMkLst>
        </pc:spChg>
        <pc:spChg chg="add mod">
          <ac:chgData name="Surendran S Selvaraju" userId="9b3a639a-eee1-41d1-b614-9dafc4af09f0" providerId="ADAL" clId="{D02F9EB4-4E26-413E-81BE-B036C8ACDCF9}" dt="2022-12-03T07:48:55.901" v="306" actId="1076"/>
          <ac:spMkLst>
            <pc:docMk/>
            <pc:sldMk cId="569544096" sldId="313"/>
            <ac:spMk id="10" creationId="{97FFA1B8-828D-45F0-8467-A21E900CC4A4}"/>
          </ac:spMkLst>
        </pc:spChg>
        <pc:spChg chg="add mod">
          <ac:chgData name="Surendran S Selvaraju" userId="9b3a639a-eee1-41d1-b614-9dafc4af09f0" providerId="ADAL" clId="{D02F9EB4-4E26-413E-81BE-B036C8ACDCF9}" dt="2022-12-03T07:41:38.713" v="227"/>
          <ac:spMkLst>
            <pc:docMk/>
            <pc:sldMk cId="569544096" sldId="313"/>
            <ac:spMk id="12" creationId="{DD44FC3D-4AF3-6E29-5E45-54A64584494F}"/>
          </ac:spMkLst>
        </pc:spChg>
        <pc:spChg chg="add del">
          <ac:chgData name="Surendran S Selvaraju" userId="9b3a639a-eee1-41d1-b614-9dafc4af09f0" providerId="ADAL" clId="{D02F9EB4-4E26-413E-81BE-B036C8ACDCF9}" dt="2022-12-03T07:47:06.337" v="292"/>
          <ac:spMkLst>
            <pc:docMk/>
            <pc:sldMk cId="569544096" sldId="313"/>
            <ac:spMk id="21" creationId="{0B89F3B3-7A0F-FFC2-0538-E4326D15812C}"/>
          </ac:spMkLst>
        </pc:spChg>
        <pc:spChg chg="add del">
          <ac:chgData name="Surendran S Selvaraju" userId="9b3a639a-eee1-41d1-b614-9dafc4af09f0" providerId="ADAL" clId="{D02F9EB4-4E26-413E-81BE-B036C8ACDCF9}" dt="2022-12-03T07:47:11.515" v="294"/>
          <ac:spMkLst>
            <pc:docMk/>
            <pc:sldMk cId="569544096" sldId="313"/>
            <ac:spMk id="22" creationId="{8175BC01-EDDF-9627-3700-74A7CC9D91FC}"/>
          </ac:spMkLst>
        </pc:spChg>
        <pc:spChg chg="add del mod">
          <ac:chgData name="Surendran S Selvaraju" userId="9b3a639a-eee1-41d1-b614-9dafc4af09f0" providerId="ADAL" clId="{D02F9EB4-4E26-413E-81BE-B036C8ACDCF9}" dt="2022-12-03T07:54:59.589" v="356" actId="20577"/>
          <ac:spMkLst>
            <pc:docMk/>
            <pc:sldMk cId="569544096" sldId="313"/>
            <ac:spMk id="24" creationId="{C2ECB784-B4CD-7114-8356-B0A3766EDC9A}"/>
          </ac:spMkLst>
        </pc:spChg>
        <pc:graphicFrameChg chg="add del mod">
          <ac:chgData name="Surendran S Selvaraju" userId="9b3a639a-eee1-41d1-b614-9dafc4af09f0" providerId="ADAL" clId="{D02F9EB4-4E26-413E-81BE-B036C8ACDCF9}" dt="2022-12-03T07:40:47.764" v="222"/>
          <ac:graphicFrameMkLst>
            <pc:docMk/>
            <pc:sldMk cId="569544096" sldId="313"/>
            <ac:graphicFrameMk id="4" creationId="{1C9E12B7-261E-5E46-F3ED-70566DC8F550}"/>
          </ac:graphicFrameMkLst>
        </pc:graphicFrameChg>
        <pc:graphicFrameChg chg="add del mod">
          <ac:chgData name="Surendran S Selvaraju" userId="9b3a639a-eee1-41d1-b614-9dafc4af09f0" providerId="ADAL" clId="{D02F9EB4-4E26-413E-81BE-B036C8ACDCF9}" dt="2022-12-03T07:40:57.820" v="226"/>
          <ac:graphicFrameMkLst>
            <pc:docMk/>
            <pc:sldMk cId="569544096" sldId="313"/>
            <ac:graphicFrameMk id="6" creationId="{FF526960-FA6C-317E-F226-543D0A7C9305}"/>
          </ac:graphicFrameMkLst>
        </pc:graphicFrameChg>
        <pc:graphicFrameChg chg="add mod">
          <ac:chgData name="Surendran S Selvaraju" userId="9b3a639a-eee1-41d1-b614-9dafc4af09f0" providerId="ADAL" clId="{D02F9EB4-4E26-413E-81BE-B036C8ACDCF9}" dt="2022-12-03T07:41:38.713" v="227"/>
          <ac:graphicFrameMkLst>
            <pc:docMk/>
            <pc:sldMk cId="569544096" sldId="313"/>
            <ac:graphicFrameMk id="11" creationId="{E128624A-1F49-2AE0-9B8F-30C599BAF90F}"/>
          </ac:graphicFrameMkLst>
        </pc:graphicFrameChg>
        <pc:picChg chg="add del mod">
          <ac:chgData name="Surendran S Selvaraju" userId="9b3a639a-eee1-41d1-b614-9dafc4af09f0" providerId="ADAL" clId="{D02F9EB4-4E26-413E-81BE-B036C8ACDCF9}" dt="2022-12-03T07:42:11.282" v="246" actId="478"/>
          <ac:picMkLst>
            <pc:docMk/>
            <pc:sldMk cId="569544096" sldId="313"/>
            <ac:picMk id="13" creationId="{D8C4E15C-B6EE-9D9C-CCF5-9FB4D15E4784}"/>
          </ac:picMkLst>
        </pc:picChg>
        <pc:picChg chg="add mod">
          <ac:chgData name="Surendran S Selvaraju" userId="9b3a639a-eee1-41d1-b614-9dafc4af09f0" providerId="ADAL" clId="{D02F9EB4-4E26-413E-81BE-B036C8ACDCF9}" dt="2022-12-03T07:41:38.713" v="227"/>
          <ac:picMkLst>
            <pc:docMk/>
            <pc:sldMk cId="569544096" sldId="313"/>
            <ac:picMk id="14" creationId="{99FD2E5C-8B5D-CC33-5CEA-90A3B43E34DB}"/>
          </ac:picMkLst>
        </pc:picChg>
        <pc:picChg chg="add mod">
          <ac:chgData name="Surendran S Selvaraju" userId="9b3a639a-eee1-41d1-b614-9dafc4af09f0" providerId="ADAL" clId="{D02F9EB4-4E26-413E-81BE-B036C8ACDCF9}" dt="2022-12-03T07:41:38.713" v="227"/>
          <ac:picMkLst>
            <pc:docMk/>
            <pc:sldMk cId="569544096" sldId="313"/>
            <ac:picMk id="15" creationId="{D998650A-9728-01AF-7D31-87DE5D895736}"/>
          </ac:picMkLst>
        </pc:picChg>
        <pc:picChg chg="add mod">
          <ac:chgData name="Surendran S Selvaraju" userId="9b3a639a-eee1-41d1-b614-9dafc4af09f0" providerId="ADAL" clId="{D02F9EB4-4E26-413E-81BE-B036C8ACDCF9}" dt="2022-12-03T07:41:38.713" v="227"/>
          <ac:picMkLst>
            <pc:docMk/>
            <pc:sldMk cId="569544096" sldId="313"/>
            <ac:picMk id="16" creationId="{40C35C8A-378A-EED5-4947-1CB89DFA714B}"/>
          </ac:picMkLst>
        </pc:picChg>
        <pc:picChg chg="add mod">
          <ac:chgData name="Surendran S Selvaraju" userId="9b3a639a-eee1-41d1-b614-9dafc4af09f0" providerId="ADAL" clId="{D02F9EB4-4E26-413E-81BE-B036C8ACDCF9}" dt="2022-12-03T07:41:38.713" v="227"/>
          <ac:picMkLst>
            <pc:docMk/>
            <pc:sldMk cId="569544096" sldId="313"/>
            <ac:picMk id="17" creationId="{50EAD7BD-E5DD-8F74-1519-029E14DF1C46}"/>
          </ac:picMkLst>
        </pc:picChg>
        <pc:picChg chg="add mod">
          <ac:chgData name="Surendran S Selvaraju" userId="9b3a639a-eee1-41d1-b614-9dafc4af09f0" providerId="ADAL" clId="{D02F9EB4-4E26-413E-81BE-B036C8ACDCF9}" dt="2022-12-03T07:41:38.713" v="227"/>
          <ac:picMkLst>
            <pc:docMk/>
            <pc:sldMk cId="569544096" sldId="313"/>
            <ac:picMk id="18" creationId="{C44823A8-7503-8987-9688-82E3176E1B0B}"/>
          </ac:picMkLst>
        </pc:picChg>
        <pc:picChg chg="add mod">
          <ac:chgData name="Surendran S Selvaraju" userId="9b3a639a-eee1-41d1-b614-9dafc4af09f0" providerId="ADAL" clId="{D02F9EB4-4E26-413E-81BE-B036C8ACDCF9}" dt="2022-12-03T07:42:39.309" v="257" actId="1076"/>
          <ac:picMkLst>
            <pc:docMk/>
            <pc:sldMk cId="569544096" sldId="313"/>
            <ac:picMk id="20" creationId="{25EF808C-E24A-F925-B8E7-59585BF4DCA3}"/>
          </ac:picMkLst>
        </pc:picChg>
        <pc:picChg chg="add mod">
          <ac:chgData name="Surendran S Selvaraju" userId="9b3a639a-eee1-41d1-b614-9dafc4af09f0" providerId="ADAL" clId="{D02F9EB4-4E26-413E-81BE-B036C8ACDCF9}" dt="2022-12-03T07:47:48.821" v="300" actId="1076"/>
          <ac:picMkLst>
            <pc:docMk/>
            <pc:sldMk cId="569544096" sldId="313"/>
            <ac:picMk id="23" creationId="{386FC89E-8A15-F17C-D682-109C054D7E4A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66" creationId="{D2B2DB77-1FC1-57FB-F57D-F22B7CD75C61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67" creationId="{4A535CA3-C702-F345-7350-09ED6E5D876A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68" creationId="{158CA59B-1DFC-03D1-779B-E2B274AC4B9A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69" creationId="{7EDB654D-7B76-6800-2190-5B3511295A3A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70" creationId="{1FE5623E-2368-9E40-D0ED-92F1CB14DAAE}"/>
          </ac:picMkLst>
        </pc:picChg>
        <pc:picChg chg="add del mod">
          <ac:chgData name="Surendran S Selvaraju" userId="9b3a639a-eee1-41d1-b614-9dafc4af09f0" providerId="ADAL" clId="{D02F9EB4-4E26-413E-81BE-B036C8ACDCF9}" dt="2022-12-03T07:40:47.764" v="222"/>
          <ac:picMkLst>
            <pc:docMk/>
            <pc:sldMk cId="569544096" sldId="313"/>
            <ac:picMk id="11271" creationId="{ED140825-115C-087E-E31D-17E3FCE872C5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3" creationId="{4FA2B7A7-019D-CCDB-1BD2-008AB619545C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4" creationId="{EB513502-EBE1-DC9F-21CF-3D70C63D9773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5" creationId="{0A314FF5-5F64-53FD-5C95-0232F46489D8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6" creationId="{8816ACA6-8769-6B5A-498C-9A4C8F050FE1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7" creationId="{C6252474-8BCC-D5D1-B1CF-E08DC13138A3}"/>
          </ac:picMkLst>
        </pc:picChg>
        <pc:picChg chg="add del mod">
          <ac:chgData name="Surendran S Selvaraju" userId="9b3a639a-eee1-41d1-b614-9dafc4af09f0" providerId="ADAL" clId="{D02F9EB4-4E26-413E-81BE-B036C8ACDCF9}" dt="2022-12-03T07:40:57.820" v="226"/>
          <ac:picMkLst>
            <pc:docMk/>
            <pc:sldMk cId="569544096" sldId="313"/>
            <ac:picMk id="11278" creationId="{AD48F310-D4E0-9690-CAEF-AB16832D378E}"/>
          </ac:picMkLst>
        </pc:picChg>
      </pc:sldChg>
      <pc:sldChg chg="addSp delSp modSp new mod">
        <pc:chgData name="Surendran S Selvaraju" userId="9b3a639a-eee1-41d1-b614-9dafc4af09f0" providerId="ADAL" clId="{D02F9EB4-4E26-413E-81BE-B036C8ACDCF9}" dt="2022-12-03T08:06:21.816" v="397"/>
        <pc:sldMkLst>
          <pc:docMk/>
          <pc:sldMk cId="3530541005" sldId="314"/>
        </pc:sldMkLst>
        <pc:spChg chg="del">
          <ac:chgData name="Surendran S Selvaraju" userId="9b3a639a-eee1-41d1-b614-9dafc4af09f0" providerId="ADAL" clId="{D02F9EB4-4E26-413E-81BE-B036C8ACDCF9}" dt="2022-12-03T07:57:48.134" v="361" actId="478"/>
          <ac:spMkLst>
            <pc:docMk/>
            <pc:sldMk cId="3530541005" sldId="314"/>
            <ac:spMk id="2" creationId="{E3AF01BA-963E-D781-B659-CF2879772952}"/>
          </ac:spMkLst>
        </pc:spChg>
        <pc:spChg chg="del">
          <ac:chgData name="Surendran S Selvaraju" userId="9b3a639a-eee1-41d1-b614-9dafc4af09f0" providerId="ADAL" clId="{D02F9EB4-4E26-413E-81BE-B036C8ACDCF9}" dt="2022-12-03T07:57:46.426" v="360" actId="478"/>
          <ac:spMkLst>
            <pc:docMk/>
            <pc:sldMk cId="3530541005" sldId="314"/>
            <ac:spMk id="3" creationId="{E209A6C9-B9CC-36AD-74BE-8CE0B3654C75}"/>
          </ac:spMkLst>
        </pc:spChg>
        <pc:spChg chg="add mod">
          <ac:chgData name="Surendran S Selvaraju" userId="9b3a639a-eee1-41d1-b614-9dafc4af09f0" providerId="ADAL" clId="{D02F9EB4-4E26-413E-81BE-B036C8ACDCF9}" dt="2022-12-03T08:06:21.816" v="397"/>
          <ac:spMkLst>
            <pc:docMk/>
            <pc:sldMk cId="3530541005" sldId="314"/>
            <ac:spMk id="4" creationId="{1FD80483-238C-16E0-1FC4-5E616995255B}"/>
          </ac:spMkLst>
        </pc:spChg>
        <pc:picChg chg="add mod">
          <ac:chgData name="Surendran S Selvaraju" userId="9b3a639a-eee1-41d1-b614-9dafc4af09f0" providerId="ADAL" clId="{D02F9EB4-4E26-413E-81BE-B036C8ACDCF9}" dt="2022-12-03T07:57:53.502" v="364" actId="1076"/>
          <ac:picMkLst>
            <pc:docMk/>
            <pc:sldMk cId="3530541005" sldId="314"/>
            <ac:picMk id="12290" creationId="{0E4FA7EA-F619-4E29-93AE-F2D2E0D99B66}"/>
          </ac:picMkLst>
        </pc:picChg>
      </pc:sldChg>
      <pc:sldChg chg="addSp delSp modSp new mod modAnim">
        <pc:chgData name="Surendran S Selvaraju" userId="9b3a639a-eee1-41d1-b614-9dafc4af09f0" providerId="ADAL" clId="{D02F9EB4-4E26-413E-81BE-B036C8ACDCF9}" dt="2022-12-03T08:00:05.647" v="384" actId="1076"/>
        <pc:sldMkLst>
          <pc:docMk/>
          <pc:sldMk cId="2469081224" sldId="315"/>
        </pc:sldMkLst>
        <pc:spChg chg="del">
          <ac:chgData name="Surendran S Selvaraju" userId="9b3a639a-eee1-41d1-b614-9dafc4af09f0" providerId="ADAL" clId="{D02F9EB4-4E26-413E-81BE-B036C8ACDCF9}" dt="2022-12-03T07:59:03.392" v="366" actId="478"/>
          <ac:spMkLst>
            <pc:docMk/>
            <pc:sldMk cId="2469081224" sldId="315"/>
            <ac:spMk id="2" creationId="{4DD7E912-220F-A17A-165A-AA68B5A5913C}"/>
          </ac:spMkLst>
        </pc:spChg>
        <pc:spChg chg="del">
          <ac:chgData name="Surendran S Selvaraju" userId="9b3a639a-eee1-41d1-b614-9dafc4af09f0" providerId="ADAL" clId="{D02F9EB4-4E26-413E-81BE-B036C8ACDCF9}" dt="2022-12-03T07:59:05.456" v="367" actId="478"/>
          <ac:spMkLst>
            <pc:docMk/>
            <pc:sldMk cId="2469081224" sldId="315"/>
            <ac:spMk id="3" creationId="{A68D5409-B63A-D58B-0F8A-7C79729CA4F1}"/>
          </ac:spMkLst>
        </pc:spChg>
        <pc:spChg chg="add del">
          <ac:chgData name="Surendran S Selvaraju" userId="9b3a639a-eee1-41d1-b614-9dafc4af09f0" providerId="ADAL" clId="{D02F9EB4-4E26-413E-81BE-B036C8ACDCF9}" dt="2022-12-03T07:59:08.720" v="369" actId="22"/>
          <ac:spMkLst>
            <pc:docMk/>
            <pc:sldMk cId="2469081224" sldId="315"/>
            <ac:spMk id="5" creationId="{8DC9D5C1-610F-0EE6-CA0A-CB985C30D41E}"/>
          </ac:spMkLst>
        </pc:spChg>
        <pc:spChg chg="add mod">
          <ac:chgData name="Surendran S Selvaraju" userId="9b3a639a-eee1-41d1-b614-9dafc4af09f0" providerId="ADAL" clId="{D02F9EB4-4E26-413E-81BE-B036C8ACDCF9}" dt="2022-12-03T07:59:25.593" v="373" actId="2711"/>
          <ac:spMkLst>
            <pc:docMk/>
            <pc:sldMk cId="2469081224" sldId="315"/>
            <ac:spMk id="7" creationId="{ADFDBD3F-E958-8EBB-4E1B-B87A25225201}"/>
          </ac:spMkLst>
        </pc:spChg>
        <pc:grpChg chg="add mod">
          <ac:chgData name="Surendran S Selvaraju" userId="9b3a639a-eee1-41d1-b614-9dafc4af09f0" providerId="ADAL" clId="{D02F9EB4-4E26-413E-81BE-B036C8ACDCF9}" dt="2022-12-03T08:00:05.647" v="384" actId="1076"/>
          <ac:grpSpMkLst>
            <pc:docMk/>
            <pc:sldMk cId="2469081224" sldId="315"/>
            <ac:grpSpMk id="8" creationId="{1C61F511-E9E2-00FB-BD6B-05D3AC3B7128}"/>
          </ac:grpSpMkLst>
        </pc:grpChg>
        <pc:grpChg chg="mod">
          <ac:chgData name="Surendran S Selvaraju" userId="9b3a639a-eee1-41d1-b614-9dafc4af09f0" providerId="ADAL" clId="{D02F9EB4-4E26-413E-81BE-B036C8ACDCF9}" dt="2022-12-03T08:00:05.647" v="384" actId="1076"/>
          <ac:grpSpMkLst>
            <pc:docMk/>
            <pc:sldMk cId="2469081224" sldId="315"/>
            <ac:grpSpMk id="23" creationId="{E3D903B6-550D-0FEA-AA44-6FCE8D52AB53}"/>
          </ac:grpSpMkLst>
        </pc:grpChg>
        <pc:graphicFrameChg chg="add mod modGraphic">
          <ac:chgData name="Surendran S Selvaraju" userId="9b3a639a-eee1-41d1-b614-9dafc4af09f0" providerId="ADAL" clId="{D02F9EB4-4E26-413E-81BE-B036C8ACDCF9}" dt="2022-12-03T07:59:58.937" v="381" actId="14100"/>
          <ac:graphicFrameMkLst>
            <pc:docMk/>
            <pc:sldMk cId="2469081224" sldId="315"/>
            <ac:graphicFrameMk id="26" creationId="{49DD7460-DEFB-9884-3836-9084C1495408}"/>
          </ac:graphicFrameMkLst>
        </pc:graphicFrame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9" creationId="{AC1C8AE7-8508-FBB2-D4E7-3B161A23C1AF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0" creationId="{D46492F7-AB38-6797-4FA3-A9EE0E8988A0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1" creationId="{D37A4F20-C8B5-9277-785F-8C02DB22EFAD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2" creationId="{8A710B8C-6CDA-1C0E-06F1-02FB626DB4E0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3" creationId="{69D71E76-260E-7578-BD4E-2146138C08DA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4" creationId="{59979955-6720-4EFE-69C9-D55CFB60E857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5" creationId="{3D164E51-BEE1-6B94-EE71-590EFA629DBA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6" creationId="{F4348E19-AC92-2142-D6D6-9B3834C68BCB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7" creationId="{717ECB72-56C2-25B8-B07F-C2BB9DE903DB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8" creationId="{20616C7E-979C-63A3-1BBF-049D1F2165DF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19" creationId="{1A746A7E-60F4-55C5-4E14-DA4581198B8A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20" creationId="{3BB0AE63-E1CF-5CFA-3A30-0458CFC5A8FB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21" creationId="{4C643C4A-593E-C60E-734E-5A9E9E898E4B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22" creationId="{22E7E6C1-853A-7565-4BDD-9AC9470D4A57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24" creationId="{36266302-0F29-C5A1-CB65-8058BFC97F6A}"/>
          </ac:picMkLst>
        </pc:picChg>
        <pc:picChg chg="mod">
          <ac:chgData name="Surendran S Selvaraju" userId="9b3a639a-eee1-41d1-b614-9dafc4af09f0" providerId="ADAL" clId="{D02F9EB4-4E26-413E-81BE-B036C8ACDCF9}" dt="2022-12-03T08:00:05.647" v="384" actId="1076"/>
          <ac:picMkLst>
            <pc:docMk/>
            <pc:sldMk cId="2469081224" sldId="315"/>
            <ac:picMk id="25" creationId="{4356317B-EC70-EF49-199D-22025CDAAB1E}"/>
          </ac:picMkLst>
        </pc:picChg>
      </pc:sldChg>
      <pc:sldChg chg="addSp delSp modSp new mod modAnim">
        <pc:chgData name="Surendran S Selvaraju" userId="9b3a639a-eee1-41d1-b614-9dafc4af09f0" providerId="ADAL" clId="{D02F9EB4-4E26-413E-81BE-B036C8ACDCF9}" dt="2022-12-03T08:09:30.521" v="428" actId="20577"/>
        <pc:sldMkLst>
          <pc:docMk/>
          <pc:sldMk cId="3007513542" sldId="316"/>
        </pc:sldMkLst>
        <pc:spChg chg="del">
          <ac:chgData name="Surendran S Selvaraju" userId="9b3a639a-eee1-41d1-b614-9dafc4af09f0" providerId="ADAL" clId="{D02F9EB4-4E26-413E-81BE-B036C8ACDCF9}" dt="2022-12-03T08:07:39.506" v="402" actId="478"/>
          <ac:spMkLst>
            <pc:docMk/>
            <pc:sldMk cId="3007513542" sldId="316"/>
            <ac:spMk id="2" creationId="{939D0878-AB4B-F2A1-BF96-601A73506502}"/>
          </ac:spMkLst>
        </pc:spChg>
        <pc:spChg chg="del">
          <ac:chgData name="Surendran S Selvaraju" userId="9b3a639a-eee1-41d1-b614-9dafc4af09f0" providerId="ADAL" clId="{D02F9EB4-4E26-413E-81BE-B036C8ACDCF9}" dt="2022-12-03T08:07:38.099" v="401" actId="478"/>
          <ac:spMkLst>
            <pc:docMk/>
            <pc:sldMk cId="3007513542" sldId="316"/>
            <ac:spMk id="3" creationId="{7812567A-7138-2C35-F137-494E8A9F204A}"/>
          </ac:spMkLst>
        </pc:spChg>
        <pc:spChg chg="add del mod">
          <ac:chgData name="Surendran S Selvaraju" userId="9b3a639a-eee1-41d1-b614-9dafc4af09f0" providerId="ADAL" clId="{D02F9EB4-4E26-413E-81BE-B036C8ACDCF9}" dt="2022-12-03T08:07:43.299" v="404"/>
          <ac:spMkLst>
            <pc:docMk/>
            <pc:sldMk cId="3007513542" sldId="316"/>
            <ac:spMk id="4" creationId="{E93FA3E2-888D-D3EB-02E0-2C568512A8BA}"/>
          </ac:spMkLst>
        </pc:spChg>
        <pc:spChg chg="add del mod">
          <ac:chgData name="Surendran S Selvaraju" userId="9b3a639a-eee1-41d1-b614-9dafc4af09f0" providerId="ADAL" clId="{D02F9EB4-4E26-413E-81BE-B036C8ACDCF9}" dt="2022-12-03T08:07:47.215" v="406" actId="478"/>
          <ac:spMkLst>
            <pc:docMk/>
            <pc:sldMk cId="3007513542" sldId="316"/>
            <ac:spMk id="5" creationId="{D3A10D24-FADC-820E-4AE8-82B7D51A942C}"/>
          </ac:spMkLst>
        </pc:spChg>
        <pc:spChg chg="add del mod">
          <ac:chgData name="Surendran S Selvaraju" userId="9b3a639a-eee1-41d1-b614-9dafc4af09f0" providerId="ADAL" clId="{D02F9EB4-4E26-413E-81BE-B036C8ACDCF9}" dt="2022-12-03T08:08:21.120" v="415" actId="478"/>
          <ac:spMkLst>
            <pc:docMk/>
            <pc:sldMk cId="3007513542" sldId="316"/>
            <ac:spMk id="9" creationId="{EC27FD65-212C-4908-C7F8-9214BAFFBB67}"/>
          </ac:spMkLst>
        </pc:spChg>
        <pc:spChg chg="add mod">
          <ac:chgData name="Surendran S Selvaraju" userId="9b3a639a-eee1-41d1-b614-9dafc4af09f0" providerId="ADAL" clId="{D02F9EB4-4E26-413E-81BE-B036C8ACDCF9}" dt="2022-12-03T08:08:43.153" v="422" actId="207"/>
          <ac:spMkLst>
            <pc:docMk/>
            <pc:sldMk cId="3007513542" sldId="316"/>
            <ac:spMk id="11" creationId="{EC42F1EC-FCBA-24A5-287B-D2C7B2D4EF8A}"/>
          </ac:spMkLst>
        </pc:spChg>
        <pc:spChg chg="add mod">
          <ac:chgData name="Surendran S Selvaraju" userId="9b3a639a-eee1-41d1-b614-9dafc4af09f0" providerId="ADAL" clId="{D02F9EB4-4E26-413E-81BE-B036C8ACDCF9}" dt="2022-12-03T08:09:30.521" v="428" actId="20577"/>
          <ac:spMkLst>
            <pc:docMk/>
            <pc:sldMk cId="3007513542" sldId="316"/>
            <ac:spMk id="13" creationId="{872577A3-2B7A-58FB-3228-330946B464A4}"/>
          </ac:spMkLst>
        </pc:spChg>
        <pc:picChg chg="add del">
          <ac:chgData name="Surendran S Selvaraju" userId="9b3a639a-eee1-41d1-b614-9dafc4af09f0" providerId="ADAL" clId="{D02F9EB4-4E26-413E-81BE-B036C8ACDCF9}" dt="2022-12-03T08:07:50.448" v="408" actId="478"/>
          <ac:picMkLst>
            <pc:docMk/>
            <pc:sldMk cId="3007513542" sldId="316"/>
            <ac:picMk id="6" creationId="{A466AD5D-16CC-6817-F48D-2A36D9DA316F}"/>
          </ac:picMkLst>
        </pc:picChg>
        <pc:picChg chg="add mod">
          <ac:chgData name="Surendran S Selvaraju" userId="9b3a639a-eee1-41d1-b614-9dafc4af09f0" providerId="ADAL" clId="{D02F9EB4-4E26-413E-81BE-B036C8ACDCF9}" dt="2022-12-03T08:09:01.461" v="423" actId="14100"/>
          <ac:picMkLst>
            <pc:docMk/>
            <pc:sldMk cId="3007513542" sldId="316"/>
            <ac:picMk id="7" creationId="{8872DED1-D139-DAF0-54CC-3DC240C3274C}"/>
          </ac:picMkLst>
        </pc:picChg>
      </pc:sldChg>
      <pc:sldChg chg="delSp modSp new del mod">
        <pc:chgData name="Surendran S Selvaraju" userId="9b3a639a-eee1-41d1-b614-9dafc4af09f0" providerId="ADAL" clId="{D02F9EB4-4E26-413E-81BE-B036C8ACDCF9}" dt="2022-12-03T12:07:53.455" v="465" actId="47"/>
        <pc:sldMkLst>
          <pc:docMk/>
          <pc:sldMk cId="215698887" sldId="317"/>
        </pc:sldMkLst>
        <pc:spChg chg="del mod">
          <ac:chgData name="Surendran S Selvaraju" userId="9b3a639a-eee1-41d1-b614-9dafc4af09f0" providerId="ADAL" clId="{D02F9EB4-4E26-413E-81BE-B036C8ACDCF9}" dt="2022-12-03T12:07:28.773" v="460" actId="478"/>
          <ac:spMkLst>
            <pc:docMk/>
            <pc:sldMk cId="215698887" sldId="317"/>
            <ac:spMk id="2" creationId="{F401112E-1ECC-E7AC-CFBF-2A0E7C607B8F}"/>
          </ac:spMkLst>
        </pc:spChg>
        <pc:spChg chg="del">
          <ac:chgData name="Surendran S Selvaraju" userId="9b3a639a-eee1-41d1-b614-9dafc4af09f0" providerId="ADAL" clId="{D02F9EB4-4E26-413E-81BE-B036C8ACDCF9}" dt="2022-12-03T12:07:31.719" v="461" actId="478"/>
          <ac:spMkLst>
            <pc:docMk/>
            <pc:sldMk cId="215698887" sldId="317"/>
            <ac:spMk id="3" creationId="{371044BC-74D6-D7A8-5B77-2AC256F93547}"/>
          </ac:spMkLst>
        </pc:spChg>
      </pc:sldChg>
      <pc:sldChg chg="delSp modSp add del mod">
        <pc:chgData name="Surendran S Selvaraju" userId="9b3a639a-eee1-41d1-b614-9dafc4af09f0" providerId="ADAL" clId="{D02F9EB4-4E26-413E-81BE-B036C8ACDCF9}" dt="2022-12-03T12:10:09.064" v="489" actId="20577"/>
        <pc:sldMkLst>
          <pc:docMk/>
          <pc:sldMk cId="4182901084" sldId="393"/>
        </pc:sldMkLst>
        <pc:spChg chg="mod">
          <ac:chgData name="Surendran S Selvaraju" userId="9b3a639a-eee1-41d1-b614-9dafc4af09f0" providerId="ADAL" clId="{D02F9EB4-4E26-413E-81BE-B036C8ACDCF9}" dt="2022-12-03T12:10:09.064" v="489" actId="20577"/>
          <ac:spMkLst>
            <pc:docMk/>
            <pc:sldMk cId="4182901084" sldId="393"/>
            <ac:spMk id="38" creationId="{00000000-0000-0000-0000-000000000000}"/>
          </ac:spMkLst>
        </pc:spChg>
        <pc:spChg chg="del mod">
          <ac:chgData name="Surendran S Selvaraju" userId="9b3a639a-eee1-41d1-b614-9dafc4af09f0" providerId="ADAL" clId="{D02F9EB4-4E26-413E-81BE-B036C8ACDCF9}" dt="2022-12-03T12:08:52.561" v="470" actId="478"/>
          <ac:spMkLst>
            <pc:docMk/>
            <pc:sldMk cId="4182901084" sldId="393"/>
            <ac:spMk id="42" creationId="{00000000-0000-0000-0000-000000000000}"/>
          </ac:spMkLst>
        </pc:spChg>
        <pc:spChg chg="mod">
          <ac:chgData name="Surendran S Selvaraju" userId="9b3a639a-eee1-41d1-b614-9dafc4af09f0" providerId="ADAL" clId="{D02F9EB4-4E26-413E-81BE-B036C8ACDCF9}" dt="2022-12-03T12:09:49.200" v="479" actId="1076"/>
          <ac:spMkLst>
            <pc:docMk/>
            <pc:sldMk cId="4182901084" sldId="393"/>
            <ac:spMk id="25608" creationId="{00000000-0000-0000-0000-000000000000}"/>
          </ac:spMkLst>
        </pc:spChg>
      </pc:sldChg>
      <pc:sldChg chg="addSp delSp modSp new mod modAnim">
        <pc:chgData name="Surendran S Selvaraju" userId="9b3a639a-eee1-41d1-b614-9dafc4af09f0" providerId="ADAL" clId="{D02F9EB4-4E26-413E-81BE-B036C8ACDCF9}" dt="2022-12-03T13:43:04.056" v="662" actId="207"/>
        <pc:sldMkLst>
          <pc:docMk/>
          <pc:sldMk cId="2199514879" sldId="394"/>
        </pc:sldMkLst>
        <pc:spChg chg="del">
          <ac:chgData name="Surendran S Selvaraju" userId="9b3a639a-eee1-41d1-b614-9dafc4af09f0" providerId="ADAL" clId="{D02F9EB4-4E26-413E-81BE-B036C8ACDCF9}" dt="2022-12-03T13:40:12.948" v="513" actId="478"/>
          <ac:spMkLst>
            <pc:docMk/>
            <pc:sldMk cId="2199514879" sldId="394"/>
            <ac:spMk id="2" creationId="{7A750F37-97EC-799A-F109-B9D1F2B2FEE5}"/>
          </ac:spMkLst>
        </pc:spChg>
        <pc:spChg chg="del">
          <ac:chgData name="Surendran S Selvaraju" userId="9b3a639a-eee1-41d1-b614-9dafc4af09f0" providerId="ADAL" clId="{D02F9EB4-4E26-413E-81BE-B036C8ACDCF9}" dt="2022-12-03T13:40:05.254" v="512" actId="478"/>
          <ac:spMkLst>
            <pc:docMk/>
            <pc:sldMk cId="2199514879" sldId="394"/>
            <ac:spMk id="3" creationId="{46C44B23-9EC2-D2D9-D06D-1327327C7E40}"/>
          </ac:spMkLst>
        </pc:spChg>
        <pc:spChg chg="add 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" creationId="{78A8F256-5ABB-984D-6546-D3616337C6FD}"/>
          </ac:spMkLst>
        </pc:spChg>
        <pc:spChg chg="add mod">
          <ac:chgData name="Surendran S Selvaraju" userId="9b3a639a-eee1-41d1-b614-9dafc4af09f0" providerId="ADAL" clId="{D02F9EB4-4E26-413E-81BE-B036C8ACDCF9}" dt="2022-12-03T13:40:19.260" v="514"/>
          <ac:spMkLst>
            <pc:docMk/>
            <pc:sldMk cId="2199514879" sldId="394"/>
            <ac:spMk id="5" creationId="{FC5688C5-CB73-D9D3-827B-FF0D1E3A3B3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" creationId="{1BA46603-F328-D33B-51CE-313F36BA096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" creationId="{2FFFCB71-202F-20DC-2483-56F6B761AD1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" creationId="{2F2DAB13-7A83-2AC4-B122-23E1B26B4A4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" creationId="{3FD031A7-08B5-A0D9-6B4D-4139D86FA91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" creationId="{27E60292-8F74-13FA-2FA4-6F5E2E12EDC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" creationId="{FD93539E-791B-BE91-1EF5-0B1F2D381BD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" creationId="{F83A712B-55C4-7DB2-3B2B-4A7C34754D5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" creationId="{2DE80A8C-3A20-BAA5-2BB9-765D4C46E76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" creationId="{E04F5823-A572-643D-7F75-EE0EFBFF237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" creationId="{ED634E81-AEE8-6583-BB35-21CC3EA104A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" creationId="{7068A5B5-419B-4B54-9237-ABE448F5B7B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" creationId="{F96B332C-8285-5A9B-145A-EDE5A04F23A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0" creationId="{E99AB29C-AC16-28A0-9251-31A44E331F7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1" creationId="{089BA964-5EE2-228D-4A6F-4C8F6B47DA7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2" creationId="{8408C072-B541-114C-93E4-CD2D3956ADA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3" creationId="{2437E663-7969-0600-C025-4F45EF3AD13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5" creationId="{334EFCC1-F690-9B7D-4C6F-F9425D1985F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6" creationId="{BDAEE574-3740-9056-FCE1-517F8322DDE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7" creationId="{411A43D6-4473-1E6B-BC01-A4914F251EF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8" creationId="{612DFBE6-B21E-906E-61E7-6378886A527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9" creationId="{6CDD4728-BC1F-DB05-0A2A-6CD22F5CE40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0" creationId="{406D4C47-4722-371B-E81C-80A1B249D2B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1" creationId="{2D189EF0-0ABE-B7F4-2EDA-8C2D3089799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2" creationId="{673DEF32-A1A9-610A-D365-3868A4081A3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3" creationId="{2B7528C9-A917-3E76-8970-79B8DA7C9DE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4" creationId="{C39C0D1D-F01E-7EF6-C125-BCA23B196CC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5" creationId="{5C582790-3DAE-0BAE-B2A8-4D4EB8D1D28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6" creationId="{24F5FADD-A541-AEEC-CA9C-CC29483A5DF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7" creationId="{1EF364D4-EB4A-29D2-A2F9-C64BFA88174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8" creationId="{FB0236D2-7B85-4A0F-833B-7002CD7F2CC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39" creationId="{4FDBBB1F-6B67-6C34-4441-64BC256C126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0" creationId="{DEBB586D-ED2F-D141-9642-428E43ED02A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2" creationId="{8C27AAF1-56D3-A287-508B-D5FCD2FB848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3" creationId="{DEE7E845-6F99-8DF0-BD1B-1E91FB0F816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4" creationId="{049E58D1-FFBE-F5D3-4B32-F756BC0D782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5" creationId="{4D9E8821-82ED-31FE-A18F-3A515622E78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6" creationId="{96629C07-4B9D-0930-4CAD-3F1EA98785D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7" creationId="{D151A74D-4CE8-D57C-8E63-B45608ADBF3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8" creationId="{62C5467D-D665-74AB-736A-71E1FA86CE9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49" creationId="{8F5E5012-CE3D-36B4-46C8-3B8E0226ED0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0" creationId="{50D03C40-D7C8-5E36-A60A-657B1D38349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1" creationId="{DB15CD2B-807A-4B95-063D-7576933C162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2" creationId="{A634665E-378E-3E4D-9EA3-1EF7939E22A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3" creationId="{59580E25-E8C2-A2FF-DABD-2FA30FE6006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4" creationId="{64C33344-3A99-F176-A129-1E5EAEA0971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5" creationId="{B30EC843-5C49-DA74-05D1-7896D122D3F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6" creationId="{0ADEBCFE-CFD6-E1F6-B2EF-1291D01657D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7" creationId="{3D282F2B-A9CB-FEB8-81B5-BEF731D012A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8" creationId="{2079AC03-2B47-D16F-B937-B36E7564DAC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59" creationId="{920ECE64-8B7A-FD9A-C2A7-2EED524DEAD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0" creationId="{94A4C762-F37C-735A-871F-A608AA2FC3D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1" creationId="{BAAD4440-2383-F4C3-1FEC-336811F341F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2" creationId="{C1724698-1F37-74FA-E715-A86AACFFBA2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3" creationId="{A2693ACB-EAFE-EF3E-14CC-DE16DDDAD74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4" creationId="{CBB88C80-B4C8-951F-49E0-17CE439D029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5" creationId="{CF03C3A5-4AD4-C867-6786-845F8FDD415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6" creationId="{8D52735B-40D2-9062-32A5-B3DE89C1640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7" creationId="{5B53BE7C-7EC9-4AC1-B2BE-BD010D23402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8" creationId="{BA39F531-E8C3-FB57-37D6-B8AE7F8EB47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69" creationId="{0C27CBE2-54E1-0ECA-DC2D-B2446013A42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0" creationId="{6B390D87-75F3-3BF2-D6A3-F46210F5E5D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1" creationId="{FADFE75D-B856-6CD2-4E70-C1B611FA025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2" creationId="{3C9E2B6C-BBFB-9BC7-2DA5-A949850F71D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3" creationId="{688E7339-1AB9-D4DE-C724-69874054A07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4" creationId="{E01675C9-4AB9-8799-5BFF-94A964FE38E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5" creationId="{C8CBB482-E5E7-CFD0-E11A-2CBF9F94BC6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6" creationId="{8745A250-37BC-B2C1-8D2A-07A2031FF4D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7" creationId="{AB35E30F-74AA-2F5A-A942-921F8CD8454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8" creationId="{CF0D31BB-33CD-6CFF-41AF-608A01D305A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79" creationId="{76497F2D-567F-7444-C4D0-6306A90DCA4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0" creationId="{4628DFDE-28CE-6E66-5501-9DF2CD64B86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1" creationId="{BA6C5067-6756-5837-0BB8-7A2A62E45C4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2" creationId="{DD144067-7207-86F9-8B95-38D355FD015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3" creationId="{057C18AA-92E9-9D9A-E6E0-10A71B6F180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4" creationId="{A0F6D25D-290B-30F2-24AD-3CE0C849B1F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5" creationId="{C3C36700-A9E7-F77A-635C-40F41AD663E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6" creationId="{4B22BE52-E95A-CAD1-E386-F1417E5C443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7" creationId="{F97CAF1E-BBA1-3A8C-FB88-05F07DA92DA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8" creationId="{A793FF0A-B5DA-36C7-FDA9-DAD1D83CD17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89" creationId="{CA1F4844-D3C2-49D8-4FBB-0DB6691C9E5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0" creationId="{E9ED1222-DC2B-51BA-F5CE-A60CF040F5C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1" creationId="{D15D212E-E29A-F800-01F6-AD01C9880AF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2" creationId="{4E11980A-56DF-7B11-2190-6A651ECD82D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3" creationId="{549C5F4F-0DA8-BDEC-D8BF-DBC3CFC8F46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4" creationId="{33C09D58-17B9-BE07-3D8A-A00511920D8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5" creationId="{E84A4C15-630E-9074-E4B2-0055EE09918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6" creationId="{7FB39D28-44D7-0205-AF79-A67E50E38B2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7" creationId="{DCAFD8AD-B7A4-80F9-36D0-838EBF165F8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8" creationId="{8ADD69C4-87BD-1B4A-755C-648DEB29F0E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99" creationId="{89119671-F30E-A800-D493-79B055AB5CB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0" creationId="{4BB19425-2CEC-01EC-6184-7181B7670B3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1" creationId="{51D62C36-D2AF-C0CD-7E70-7500BFCCAE1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2" creationId="{BD16FBF1-CE4C-F0D4-7619-C67F4333509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3" creationId="{F550A143-CF9A-D154-AC81-8BDA60EBD47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4" creationId="{7D61728C-8EDA-AF34-10DE-02D73B38CE4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5" creationId="{41011B58-D763-0FF3-CF44-6E0AEE816DD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6" creationId="{FB9D2260-E702-2B7D-AD0D-501A1DE462C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7" creationId="{56B0DE63-902E-3D8F-227A-43337982360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8" creationId="{B36B7DE8-FB6B-3311-6B28-E7007031D3D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09" creationId="{C114A048-221C-F782-4D88-18AC3A9C8C2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0" creationId="{A0D773EA-73D3-7DD7-CBD0-9F5C62EE52A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1" creationId="{15E4E553-8D63-09C3-7C5D-C5AA1E91CA7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2" creationId="{837F2BF0-31A6-4B42-C133-0FF742097B6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3" creationId="{17A6929F-14D5-8EC0-0DFC-B3D08692EC8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4" creationId="{0D38C48B-E1ED-8FE1-DEF4-55D866A1CD4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5" creationId="{57ECBE82-F6ED-126C-808A-F64B8131FBE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6" creationId="{4FBE6B7F-D5F4-4801-354F-C61384338660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7" creationId="{742EED0C-7C65-E65F-7AA0-D81A836A3C2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8" creationId="{E302EBE4-02D8-4E2A-E179-DF3783AEC48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19" creationId="{5BE613B1-E246-07F0-C670-5DDE5C19D9A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0" creationId="{33EB8ACC-BE9D-45AA-BD34-F5320D6B19C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1" creationId="{FF451175-A42A-D8B4-B59A-5A6B2368CE5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2" creationId="{B2C801F5-DE53-ECC0-65F8-688360D667A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3" creationId="{F901E318-C3DC-37EA-A5CB-0ECE381D1BA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4" creationId="{E5924983-6CC5-F424-27C2-332A633208B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5" creationId="{DFEC3F63-3A14-882B-6EA2-1ECB5261B27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6" creationId="{53BA67CB-A16E-F9DD-FD24-03104080525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7" creationId="{87CECA37-7112-F9C8-061B-3A94BB5D980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8" creationId="{CDC94143-D328-A22A-3D19-2848C48BEC6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29" creationId="{B969DDFA-7567-3971-3835-2ABEBEC696E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0" creationId="{6BED3704-D53D-30CA-5D6C-15597274C2D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1" creationId="{67142B16-395E-3AD3-E578-3E4CB39530C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2" creationId="{341DCF74-F542-42DA-1B92-44FD10B11F4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3" creationId="{FEAF631C-BB8D-04B0-BA79-D1D8158DDED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4" creationId="{BC517821-75F8-2CD6-8956-C38BAB9068F9}"/>
          </ac:spMkLst>
        </pc:spChg>
        <pc:spChg chg="add 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5" creationId="{30188DBE-969C-EA50-69D9-B6C770DCEE74}"/>
          </ac:spMkLst>
        </pc:spChg>
        <pc:spChg chg="add 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6" creationId="{CDA027C6-305C-A7AC-26C0-17911D842EC0}"/>
          </ac:spMkLst>
        </pc:spChg>
        <pc:spChg chg="add 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7" creationId="{127DBC38-CCB5-0CBA-3CD3-769FB46A96D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39" creationId="{E325FA24-375F-E31E-523D-58E58E07353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40" creationId="{7404B246-C9D4-E56D-1C40-5ADCE69E148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42" creationId="{A3A365B7-9473-63EE-DFAA-6A996E64F3F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43" creationId="{F6657110-9224-6CC7-A445-AB7B49A2DC68}"/>
          </ac:spMkLst>
        </pc:spChg>
        <pc:spChg chg="add mod">
          <ac:chgData name="Surendran S Selvaraju" userId="9b3a639a-eee1-41d1-b614-9dafc4af09f0" providerId="ADAL" clId="{D02F9EB4-4E26-413E-81BE-B036C8ACDCF9}" dt="2022-12-03T13:43:04.056" v="662" actId="207"/>
          <ac:spMkLst>
            <pc:docMk/>
            <pc:sldMk cId="2199514879" sldId="394"/>
            <ac:spMk id="144" creationId="{2C0481AE-F39B-CA35-9D06-3110F21C2F6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46" creationId="{71596CEC-816E-4381-BC90-2F32BE664DBA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49" creationId="{505EA1A2-E9B5-BDB1-A8D3-38F3EB9E790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1" creationId="{BA81CBDF-AFCB-681B-27D0-AC560BBCBB3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2" creationId="{4526ED50-264A-D0A6-1760-9B846F540AD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3" creationId="{0406AE6F-C846-FE49-772F-AB797789F32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4" creationId="{D6242286-6A82-CF33-F9F4-2487127BBF9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5" creationId="{422EF8F6-F486-6BFA-9503-4F11F0E7D799}"/>
          </ac:spMkLst>
        </pc:spChg>
        <pc:spChg chg="add mod">
          <ac:chgData name="Surendran S Selvaraju" userId="9b3a639a-eee1-41d1-b614-9dafc4af09f0" providerId="ADAL" clId="{D02F9EB4-4E26-413E-81BE-B036C8ACDCF9}" dt="2022-12-03T13:40:19.260" v="514"/>
          <ac:spMkLst>
            <pc:docMk/>
            <pc:sldMk cId="2199514879" sldId="394"/>
            <ac:spMk id="156" creationId="{ACB5D05A-DD1A-29CB-F65C-45BF6EEA3E1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58" creationId="{FF87EEE8-2297-98F9-3A20-BCD5B1FAB31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1" creationId="{8979C701-71A1-94B6-6FF9-D633B2933C7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3" creationId="{0297A170-7C29-E30A-3D17-C8A3BCD8D523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4" creationId="{C9630EF4-CF42-3B3B-F8FD-4F852347D72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5" creationId="{FBAAC2BB-E49A-B759-84A6-A7DB5E2FF0F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6" creationId="{8462A8B8-6263-5C83-4B0E-A82AE0DE432F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7" creationId="{9DA6DDFE-7D94-5E1A-25F5-11B1B43289A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69" creationId="{1796C9B4-2CD3-5E68-8934-DD5C9BFA129E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2" creationId="{080B6C43-539E-0D2C-C028-AB1461DD537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4" creationId="{FFF3E004-D2D4-6A01-12A4-256508E76EB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5" creationId="{AB98278E-8DD0-431C-CD8E-F09E19359D69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6" creationId="{32BD09E9-CC4F-0048-CE6B-F86AE09B70FB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7" creationId="{AC0D5A2C-D967-1050-C111-3B1791DEFF9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78" creationId="{27F4FCFC-9615-C6DB-5526-1655F2C513E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0" creationId="{AA79D2AE-D4B3-1DD9-F98F-9AB233714807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3" creationId="{CEE170C2-00A5-36E2-C07B-C67916422316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5" creationId="{EB79BC9E-D137-4400-E4B1-04FD1DF98C0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6" creationId="{7A3D11D0-FEED-DF99-A8B9-BA2560FEB3F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7" creationId="{71196302-3C15-974B-8A67-F9A5DF034A05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8" creationId="{26E969E2-B4DE-49D8-40DD-4EB1749E4E6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89" creationId="{F5280BE0-C644-2CEE-C2DC-D982B1BE7A6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1" creationId="{E0E67482-8EA1-7E12-0661-95D044913E2D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4" creationId="{3C53DE5E-0A7F-C07C-6FA8-F659CE86BB7C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6" creationId="{F29E1C36-2EF6-FFE9-7B09-83AA1D852714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7" creationId="{9CD18232-17F9-C5FA-7E89-9E3DCABCD531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8" creationId="{F803531F-961A-6B00-417D-9012B2EC1B82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199" creationId="{498A8B03-CCA3-9BDA-5CD3-7A55A966D9C8}"/>
          </ac:spMkLst>
        </pc:spChg>
        <pc:spChg chg="mod">
          <ac:chgData name="Surendran S Selvaraju" userId="9b3a639a-eee1-41d1-b614-9dafc4af09f0" providerId="ADAL" clId="{D02F9EB4-4E26-413E-81BE-B036C8ACDCF9}" dt="2022-12-03T13:42:34.029" v="658" actId="1038"/>
          <ac:spMkLst>
            <pc:docMk/>
            <pc:sldMk cId="2199514879" sldId="394"/>
            <ac:spMk id="200" creationId="{EF519872-E141-59F6-C8BF-AB1CBAABF595}"/>
          </ac:spMkLst>
        </pc:s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6" creationId="{87776381-77C4-65A7-354A-186855A00054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4" creationId="{8C4DA3E8-5D33-A3BC-BE0E-3BC52298CB5E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24" creationId="{9A657361-F4FE-F1C1-F9CD-2A74D82CC5A7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41" creationId="{59653894-B3E4-4F27-7855-5463A7988F6A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38" creationId="{1BA794AC-29AC-9539-A6CA-4B80872470F1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41" creationId="{3D0ACC72-C3AA-6F49-09DD-A1BF6E324C60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45" creationId="{10EE347E-B5FC-64A0-E8A3-EABC528F00E6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47" creationId="{D139C102-9971-850E-E875-12A188BE1ED0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48" creationId="{295B3D27-EAAE-0641-B299-9EC2148D201D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50" creationId="{FE6AD178-7B59-DA7F-7446-4BF20A813BDE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57" creationId="{E8A9BFCF-58AA-4998-E88C-07810CBFE30E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59" creationId="{3A98AB8A-E10F-2573-AF4F-FEEB350F6E8E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60" creationId="{879A11B9-8D65-866D-2B4B-E923119B072B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62" creationId="{B2DAAC04-6ADF-F204-F449-1C60FBE7F661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68" creationId="{AD94552D-E0C1-F0E0-892F-53DE71BEF8BC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70" creationId="{9E60751A-D2D6-E863-BA03-5BE700BECB63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71" creationId="{58E2E1B8-6EB8-2719-64F1-100AAB9E3F68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73" creationId="{B4C9C8F6-A245-8B08-54D5-1EBA3D2CAD99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79" creationId="{308260A5-AA1C-C635-359C-DEEA3C5E30C2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81" creationId="{26638FA5-40D5-F365-7705-844C0BEE6F69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82" creationId="{7DD6626E-A609-EA20-A69A-483729AE28E1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84" creationId="{1752BADE-7E90-E11D-5039-64F08D972EA8}"/>
          </ac:grpSpMkLst>
        </pc:grpChg>
        <pc:grpChg chg="add 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90" creationId="{82E4CB56-E7B4-60F5-9C64-9A771ADFD5BF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92" creationId="{15D41D3C-9577-F359-C08B-E978506F802D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93" creationId="{FC84E9CD-9485-A456-3A74-585F83A61F97}"/>
          </ac:grpSpMkLst>
        </pc:grpChg>
        <pc:grpChg chg="mod">
          <ac:chgData name="Surendran S Selvaraju" userId="9b3a639a-eee1-41d1-b614-9dafc4af09f0" providerId="ADAL" clId="{D02F9EB4-4E26-413E-81BE-B036C8ACDCF9}" dt="2022-12-03T13:42:34.029" v="658" actId="1038"/>
          <ac:grpSpMkLst>
            <pc:docMk/>
            <pc:sldMk cId="2199514879" sldId="394"/>
            <ac:grpSpMk id="195" creationId="{2F8EB2ED-1CD9-1F82-19D4-30FF3F36D332}"/>
          </ac:grpSpMkLst>
        </pc:grpChg>
      </pc:sldChg>
      <pc:sldChg chg="addSp delSp modSp new mod">
        <pc:chgData name="Surendran S Selvaraju" userId="9b3a639a-eee1-41d1-b614-9dafc4af09f0" providerId="ADAL" clId="{D02F9EB4-4E26-413E-81BE-B036C8ACDCF9}" dt="2022-12-03T16:46:41.625" v="725" actId="255"/>
        <pc:sldMkLst>
          <pc:docMk/>
          <pc:sldMk cId="344413341" sldId="395"/>
        </pc:sldMkLst>
        <pc:spChg chg="del">
          <ac:chgData name="Surendran S Selvaraju" userId="9b3a639a-eee1-41d1-b614-9dafc4af09f0" providerId="ADAL" clId="{D02F9EB4-4E26-413E-81BE-B036C8ACDCF9}" dt="2022-12-03T16:43:21.049" v="683" actId="478"/>
          <ac:spMkLst>
            <pc:docMk/>
            <pc:sldMk cId="344413341" sldId="395"/>
            <ac:spMk id="2" creationId="{F337F205-5E05-2E81-B608-9CE7333E938D}"/>
          </ac:spMkLst>
        </pc:spChg>
        <pc:spChg chg="del mod">
          <ac:chgData name="Surendran S Selvaraju" userId="9b3a639a-eee1-41d1-b614-9dafc4af09f0" providerId="ADAL" clId="{D02F9EB4-4E26-413E-81BE-B036C8ACDCF9}" dt="2022-12-03T16:43:22.669" v="685" actId="478"/>
          <ac:spMkLst>
            <pc:docMk/>
            <pc:sldMk cId="344413341" sldId="395"/>
            <ac:spMk id="3" creationId="{19DC9A2C-695C-9BB1-FD81-09B284ACBCF4}"/>
          </ac:spMkLst>
        </pc:spChg>
        <pc:spChg chg="add mod">
          <ac:chgData name="Surendran S Selvaraju" userId="9b3a639a-eee1-41d1-b614-9dafc4af09f0" providerId="ADAL" clId="{D02F9EB4-4E26-413E-81BE-B036C8ACDCF9}" dt="2022-12-03T16:43:34.983" v="697" actId="20577"/>
          <ac:spMkLst>
            <pc:docMk/>
            <pc:sldMk cId="344413341" sldId="395"/>
            <ac:spMk id="4" creationId="{2CCAD339-C982-0721-4263-C1C6DF7C28D9}"/>
          </ac:spMkLst>
        </pc:spChg>
        <pc:spChg chg="add mod">
          <ac:chgData name="Surendran S Selvaraju" userId="9b3a639a-eee1-41d1-b614-9dafc4af09f0" providerId="ADAL" clId="{D02F9EB4-4E26-413E-81BE-B036C8ACDCF9}" dt="2022-12-03T16:46:41.625" v="725" actId="255"/>
          <ac:spMkLst>
            <pc:docMk/>
            <pc:sldMk cId="344413341" sldId="395"/>
            <ac:spMk id="5" creationId="{8B56F8D1-F6D4-2D16-E094-D3FFB366159B}"/>
          </ac:spMkLst>
        </pc:spChg>
      </pc:sldChg>
      <pc:sldChg chg="addSp delSp modSp new mod">
        <pc:chgData name="Surendran S Selvaraju" userId="9b3a639a-eee1-41d1-b614-9dafc4af09f0" providerId="ADAL" clId="{D02F9EB4-4E26-413E-81BE-B036C8ACDCF9}" dt="2022-12-09T23:29:44.972" v="734" actId="1076"/>
        <pc:sldMkLst>
          <pc:docMk/>
          <pc:sldMk cId="1191976606" sldId="396"/>
        </pc:sldMkLst>
        <pc:spChg chg="del">
          <ac:chgData name="Surendran S Selvaraju" userId="9b3a639a-eee1-41d1-b614-9dafc4af09f0" providerId="ADAL" clId="{D02F9EB4-4E26-413E-81BE-B036C8ACDCF9}" dt="2022-12-09T23:29:16.180" v="727" actId="478"/>
          <ac:spMkLst>
            <pc:docMk/>
            <pc:sldMk cId="1191976606" sldId="396"/>
            <ac:spMk id="2" creationId="{D010A23E-F45B-8B6A-DE30-8626688A8C37}"/>
          </ac:spMkLst>
        </pc:spChg>
        <pc:spChg chg="del">
          <ac:chgData name="Surendran S Selvaraju" userId="9b3a639a-eee1-41d1-b614-9dafc4af09f0" providerId="ADAL" clId="{D02F9EB4-4E26-413E-81BE-B036C8ACDCF9}" dt="2022-12-09T23:29:16.986" v="728" actId="478"/>
          <ac:spMkLst>
            <pc:docMk/>
            <pc:sldMk cId="1191976606" sldId="396"/>
            <ac:spMk id="3" creationId="{A32507FE-D7E6-C94A-1DB3-B6CFFE940B14}"/>
          </ac:spMkLst>
        </pc:spChg>
        <pc:spChg chg="add mod">
          <ac:chgData name="Surendran S Selvaraju" userId="9b3a639a-eee1-41d1-b614-9dafc4af09f0" providerId="ADAL" clId="{D02F9EB4-4E26-413E-81BE-B036C8ACDCF9}" dt="2022-12-09T23:29:27.147" v="731" actId="1076"/>
          <ac:spMkLst>
            <pc:docMk/>
            <pc:sldMk cId="1191976606" sldId="396"/>
            <ac:spMk id="4" creationId="{445E2950-C623-8D14-443F-5556151EF936}"/>
          </ac:spMkLst>
        </pc:spChg>
        <pc:spChg chg="add mod">
          <ac:chgData name="Surendran S Selvaraju" userId="9b3a639a-eee1-41d1-b614-9dafc4af09f0" providerId="ADAL" clId="{D02F9EB4-4E26-413E-81BE-B036C8ACDCF9}" dt="2022-12-09T23:29:37.794" v="733" actId="1076"/>
          <ac:spMkLst>
            <pc:docMk/>
            <pc:sldMk cId="1191976606" sldId="396"/>
            <ac:spMk id="5" creationId="{01D07E0C-6DBB-79A3-CE79-2F7280A49F3B}"/>
          </ac:spMkLst>
        </pc:spChg>
        <pc:picChg chg="add mod">
          <ac:chgData name="Surendran S Selvaraju" userId="9b3a639a-eee1-41d1-b614-9dafc4af09f0" providerId="ADAL" clId="{D02F9EB4-4E26-413E-81BE-B036C8ACDCF9}" dt="2022-12-09T23:29:44.972" v="734" actId="1076"/>
          <ac:picMkLst>
            <pc:docMk/>
            <pc:sldMk cId="1191976606" sldId="396"/>
            <ac:picMk id="6" creationId="{E6860B9D-3EB3-9603-8DB4-EC66E9FCDC82}"/>
          </ac:picMkLst>
        </pc:picChg>
      </pc:sldChg>
      <pc:sldMasterChg chg="addSp">
        <pc:chgData name="Surendran S Selvaraju" userId="9b3a639a-eee1-41d1-b614-9dafc4af09f0" providerId="ADAL" clId="{D02F9EB4-4E26-413E-81BE-B036C8ACDCF9}" dt="2022-12-03T06:37:38.803" v="45"/>
        <pc:sldMasterMkLst>
          <pc:docMk/>
          <pc:sldMasterMk cId="889378214" sldId="2147483660"/>
        </pc:sldMasterMkLst>
        <pc:spChg chg="add">
          <ac:chgData name="Surendran S Selvaraju" userId="9b3a639a-eee1-41d1-b614-9dafc4af09f0" providerId="ADAL" clId="{D02F9EB4-4E26-413E-81BE-B036C8ACDCF9}" dt="2022-12-03T06:37:38.803" v="45"/>
          <ac:spMkLst>
            <pc:docMk/>
            <pc:sldMasterMk cId="889378214" sldId="2147483660"/>
            <ac:spMk id="2" creationId="{F81079D0-5024-DFA9-0DF2-3A77DB3A9EF9}"/>
          </ac:spMkLst>
        </pc:spChg>
      </pc:sldMasterChg>
      <pc:sldMasterChg chg="addSp">
        <pc:chgData name="Surendran S Selvaraju" userId="9b3a639a-eee1-41d1-b614-9dafc4af09f0" providerId="ADAL" clId="{D02F9EB4-4E26-413E-81BE-B036C8ACDCF9}" dt="2022-12-03T06:45:36.251" v="86"/>
        <pc:sldMasterMkLst>
          <pc:docMk/>
          <pc:sldMasterMk cId="2316072154" sldId="2147483660"/>
        </pc:sldMasterMkLst>
        <pc:spChg chg="add">
          <ac:chgData name="Surendran S Selvaraju" userId="9b3a639a-eee1-41d1-b614-9dafc4af09f0" providerId="ADAL" clId="{D02F9EB4-4E26-413E-81BE-B036C8ACDCF9}" dt="2022-12-03T06:45:36.251" v="86"/>
          <ac:spMkLst>
            <pc:docMk/>
            <pc:sldMasterMk cId="2316072154" sldId="2147483660"/>
            <ac:spMk id="13" creationId="{3D1EF639-50F3-1B9C-1B09-1C74C25A7AC7}"/>
          </ac:spMkLst>
        </pc:spChg>
      </pc:sldMasterChg>
      <pc:sldMasterChg chg="addSp">
        <pc:chgData name="Surendran S Selvaraju" userId="9b3a639a-eee1-41d1-b614-9dafc4af09f0" providerId="ADAL" clId="{D02F9EB4-4E26-413E-81BE-B036C8ACDCF9}" dt="2022-12-03T06:45:05.593" v="81"/>
        <pc:sldMasterMkLst>
          <pc:docMk/>
          <pc:sldMasterMk cId="4024593576" sldId="2147483660"/>
        </pc:sldMasterMkLst>
        <pc:spChg chg="add">
          <ac:chgData name="Surendran S Selvaraju" userId="9b3a639a-eee1-41d1-b614-9dafc4af09f0" providerId="ADAL" clId="{D02F9EB4-4E26-413E-81BE-B036C8ACDCF9}" dt="2022-12-03T06:45:05.593" v="81"/>
          <ac:spMkLst>
            <pc:docMk/>
            <pc:sldMasterMk cId="4024593576" sldId="2147483660"/>
            <ac:spMk id="13" creationId="{2352B455-F6D1-B94B-5E98-25879B92377C}"/>
          </ac:spMkLst>
        </pc:spChg>
      </pc:sldMasterChg>
      <pc:sldMasterChg chg="addSp">
        <pc:chgData name="Surendran S Selvaraju" userId="9b3a639a-eee1-41d1-b614-9dafc4af09f0" providerId="ADAL" clId="{D02F9EB4-4E26-413E-81BE-B036C8ACDCF9}" dt="2022-12-03T06:45:40.733" v="88"/>
        <pc:sldMasterMkLst>
          <pc:docMk/>
          <pc:sldMasterMk cId="300136060" sldId="2147483678"/>
        </pc:sldMasterMkLst>
        <pc:spChg chg="add">
          <ac:chgData name="Surendran S Selvaraju" userId="9b3a639a-eee1-41d1-b614-9dafc4af09f0" providerId="ADAL" clId="{D02F9EB4-4E26-413E-81BE-B036C8ACDCF9}" dt="2022-12-03T06:45:40.733" v="88"/>
          <ac:spMkLst>
            <pc:docMk/>
            <pc:sldMasterMk cId="300136060" sldId="2147483678"/>
            <ac:spMk id="8" creationId="{78192CDD-4EE9-2FBC-4129-E5F8F5B2A7B1}"/>
          </ac:spMkLst>
        </pc:spChg>
      </pc:sldMasterChg>
      <pc:sldMasterChg chg="addSp">
        <pc:chgData name="Surendran S Selvaraju" userId="9b3a639a-eee1-41d1-b614-9dafc4af09f0" providerId="ADAL" clId="{D02F9EB4-4E26-413E-81BE-B036C8ACDCF9}" dt="2022-12-03T06:42:06.098" v="63"/>
        <pc:sldMasterMkLst>
          <pc:docMk/>
          <pc:sldMasterMk cId="2927271008" sldId="2147483682"/>
        </pc:sldMasterMkLst>
        <pc:spChg chg="add">
          <ac:chgData name="Surendran S Selvaraju" userId="9b3a639a-eee1-41d1-b614-9dafc4af09f0" providerId="ADAL" clId="{D02F9EB4-4E26-413E-81BE-B036C8ACDCF9}" dt="2022-12-03T06:42:06.098" v="63"/>
          <ac:spMkLst>
            <pc:docMk/>
            <pc:sldMasterMk cId="2927271008" sldId="2147483682"/>
            <ac:spMk id="2" creationId="{A8D8E6BB-FC1A-B853-477F-2EED9CCC47F4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DF9FC8-EBCD-47EE-8263-FE33B6DE7650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09B789-1795-4B89-8128-B4C9C12144C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231109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>
            <a:extLst>
              <a:ext uri="{FF2B5EF4-FFF2-40B4-BE49-F238E27FC236}">
                <a16:creationId xmlns:a16="http://schemas.microsoft.com/office/drawing/2014/main" id="{E8CD34E9-DA30-E8E5-5A4D-B855A46A9CC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>
            <a:extLst>
              <a:ext uri="{FF2B5EF4-FFF2-40B4-BE49-F238E27FC236}">
                <a16:creationId xmlns:a16="http://schemas.microsoft.com/office/drawing/2014/main" id="{FD9D003B-DFDC-702D-9CFC-786662505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69636" name="Slide Number Placeholder 3">
            <a:extLst>
              <a:ext uri="{FF2B5EF4-FFF2-40B4-BE49-F238E27FC236}">
                <a16:creationId xmlns:a16="http://schemas.microsoft.com/office/drawing/2014/main" id="{10493E4E-43B8-F7C2-D4D0-66E318F157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71370718-98E7-4474-9666-F1A967287502}" type="slidenum">
              <a:rPr lang="en-US" altLang="en-US" sz="1200"/>
              <a:pPr eaLnBrk="1" hangingPunct="1"/>
              <a:t>13</a:t>
            </a:fld>
            <a:endParaRPr lang="en-US" alt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8710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19957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715368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53367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8288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932132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58864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269822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68009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00588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041199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8F900B-6ECA-4CD7-BE5B-95AF8A634B81}" type="datetimeFigureOut">
              <a:rPr lang="en-MY" smtClean="0"/>
              <a:t>10/12/2022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2B3663F7-8604-498B-8AA2-F93AB4C0E5A5}" type="slidenum">
              <a:rPr lang="en-MY" smtClean="0"/>
              <a:t>‹#›</a:t>
            </a:fld>
            <a:endParaRPr lang="en-MY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8192CDD-4EE9-2FBC-4129-E5F8F5B2A7B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MY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300136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gif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wmf"/><Relationship Id="rId7" Type="http://schemas.openxmlformats.org/officeDocument/2006/relationships/image" Target="../media/image46.w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5.w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malaysia-ai-projects.readthedocs.io/en/latest/" TargetMode="External"/><Relationship Id="rId2" Type="http://schemas.openxmlformats.org/officeDocument/2006/relationships/hyperlink" Target="https://github.com/malaysia-ai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s.google.com/machine-learning/recommendation/collaborative/basics" TargetMode="External"/><Relationship Id="rId3" Type="http://schemas.openxmlformats.org/officeDocument/2006/relationships/hyperlink" Target="https://www.kaggle.com/code/colinmorris/matrix-factorization/notebook" TargetMode="External"/><Relationship Id="rId7" Type="http://schemas.openxmlformats.org/officeDocument/2006/relationships/hyperlink" Target="https://www.iteratorshq.com/blog/collaborative-filtering-in-recommender-systems/" TargetMode="External"/><Relationship Id="rId2" Type="http://schemas.openxmlformats.org/officeDocument/2006/relationships/hyperlink" Target="https://towardsdatascience.com/recommendation-system-matrix-factorization-d61978660b4b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alpython.com/build-recommendation-engine-collaborative-filtering/" TargetMode="External"/><Relationship Id="rId5" Type="http://schemas.openxmlformats.org/officeDocument/2006/relationships/hyperlink" Target="https://www.analyticssteps.com/blogs/what-are-recommendation-systems-machine-learning" TargetMode="External"/><Relationship Id="rId4" Type="http://schemas.openxmlformats.org/officeDocument/2006/relationships/hyperlink" Target="https://www.sciencedirect.com/science/article/pii/S1110866515000341" TargetMode="External"/><Relationship Id="rId9" Type="http://schemas.openxmlformats.org/officeDocument/2006/relationships/hyperlink" Target="https://www.turing.com/kb/collaborative-filtering-in-recommender-system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hyperlink" Target="https://github.com/Sureniology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Video 4" title="Futuristic loop">
            <a:hlinkClick r:id="" action="ppaction://media"/>
            <a:extLst>
              <a:ext uri="{FF2B5EF4-FFF2-40B4-BE49-F238E27FC236}">
                <a16:creationId xmlns:a16="http://schemas.microsoft.com/office/drawing/2014/main" id="{23962DE4-B752-533A-20AF-D2E46D96340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8980" y="171"/>
            <a:ext cx="12191695" cy="685782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53D19B6-F5A3-4BC1-D54A-20374FB85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8820" y="3082275"/>
            <a:ext cx="6487864" cy="1040822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sz="5200" b="1" kern="1200" dirty="0">
                <a:solidFill>
                  <a:schemeClr val="bg1"/>
                </a:solidFill>
                <a:latin typeface="Amasis MT Pro Black" panose="020B0604020202020204" pitchFamily="18" charset="0"/>
              </a:rPr>
              <a:t>Recommender Systems</a:t>
            </a:r>
          </a:p>
        </p:txBody>
      </p:sp>
      <p:pic>
        <p:nvPicPr>
          <p:cNvPr id="28" name="Picture 2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0ECF92B-8530-DB00-1F0D-AB9A26ACA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6684" y="98493"/>
            <a:ext cx="2584315" cy="135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281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A8F256-5ABB-984D-6546-D3616337C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8947" y="1558816"/>
            <a:ext cx="503238" cy="4248150"/>
          </a:xfrm>
          <a:prstGeom prst="rect">
            <a:avLst/>
          </a:prstGeom>
          <a:solidFill>
            <a:srgbClr val="FFD05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9pPr>
          </a:lstStyle>
          <a:p>
            <a:pPr algn="ctr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C5688C5-CB73-D9D3-827B-FF0D1E3A3B33}"/>
              </a:ext>
            </a:extLst>
          </p:cNvPr>
          <p:cNvSpPr txBox="1">
            <a:spLocks noGrp="1"/>
          </p:cNvSpPr>
          <p:nvPr/>
        </p:nvSpPr>
        <p:spPr bwMode="auto">
          <a:xfrm>
            <a:off x="7269163" y="6602413"/>
            <a:ext cx="809625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9pPr>
          </a:lstStyle>
          <a:p>
            <a:pPr rtl="0" eaLnBrk="1" fontAlgn="base" hangingPunct="1">
              <a:spcBef>
                <a:spcPct val="0"/>
              </a:spcBef>
              <a:spcAft>
                <a:spcPct val="0"/>
              </a:spcAft>
            </a:pPr>
            <a:fld id="{2F4C7CCD-53B8-49CA-B9F6-279D9DDCEAC8}" type="datetime1">
              <a:rPr lang="de-DE" altLang="en-US" sz="9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t>10.12.2022</a:t>
            </a:fld>
            <a:endParaRPr lang="de-DE" altLang="en-US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6">
            <a:extLst>
              <a:ext uri="{FF2B5EF4-FFF2-40B4-BE49-F238E27FC236}">
                <a16:creationId xmlns:a16="http://schemas.microsoft.com/office/drawing/2014/main" id="{87776381-77C4-65A7-354A-186855A00054}"/>
              </a:ext>
            </a:extLst>
          </p:cNvPr>
          <p:cNvGrpSpPr>
            <a:grpSpLocks/>
          </p:cNvGrpSpPr>
          <p:nvPr/>
        </p:nvGrpSpPr>
        <p:grpSpPr bwMode="auto">
          <a:xfrm>
            <a:off x="5676697" y="5757754"/>
            <a:ext cx="4895850" cy="587375"/>
            <a:chOff x="1973" y="3653"/>
            <a:chExt cx="3084" cy="370"/>
          </a:xfrm>
        </p:grpSpPr>
        <p:sp>
          <p:nvSpPr>
            <p:cNvPr id="7" name="Text Box 7">
              <a:extLst>
                <a:ext uri="{FF2B5EF4-FFF2-40B4-BE49-F238E27FC236}">
                  <a16:creationId xmlns:a16="http://schemas.microsoft.com/office/drawing/2014/main" id="{1BA46603-F328-D33B-51CE-313F36BA09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73" y="3657"/>
              <a:ext cx="952" cy="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Comic Sans MS" panose="030F0702030302020204" pitchFamily="66" charset="0"/>
                </a:rPr>
                <a:t>Hamming distance</a:t>
              </a:r>
              <a:endParaRPr lang="it-IT" altLang="en-US" sz="16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8" name="Text Box 8">
              <a:extLst>
                <a:ext uri="{FF2B5EF4-FFF2-40B4-BE49-F238E27FC236}">
                  <a16:creationId xmlns:a16="http://schemas.microsoft.com/office/drawing/2014/main" id="{2FFFCB71-202F-20DC-2483-56F6B761AD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89" y="3657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5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9" name="Text Box 9">
              <a:extLst>
                <a:ext uri="{FF2B5EF4-FFF2-40B4-BE49-F238E27FC236}">
                  <a16:creationId xmlns:a16="http://schemas.microsoft.com/office/drawing/2014/main" id="{2F2DAB13-7A83-2AC4-B122-23E1B26B4A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06" y="3657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6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0" name="Text Box 10">
              <a:extLst>
                <a:ext uri="{FF2B5EF4-FFF2-40B4-BE49-F238E27FC236}">
                  <a16:creationId xmlns:a16="http://schemas.microsoft.com/office/drawing/2014/main" id="{3FD031A7-08B5-A0D9-6B4D-4139D86FA9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4" y="3657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6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27E60292-8F74-13FA-2FA4-6F5E2E12ED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1" y="3657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5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2" name="Text Box 12">
              <a:extLst>
                <a:ext uri="{FF2B5EF4-FFF2-40B4-BE49-F238E27FC236}">
                  <a16:creationId xmlns:a16="http://schemas.microsoft.com/office/drawing/2014/main" id="{FD93539E-791B-BE91-1EF5-0B1F2D381B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04" y="3657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FFB229"/>
                  </a:solidFill>
                  <a:latin typeface="Comic Sans MS" panose="030F0702030302020204" pitchFamily="66" charset="0"/>
                </a:rPr>
                <a:t>4</a:t>
              </a:r>
              <a:endParaRPr lang="it-IT" altLang="en-US" sz="1800">
                <a:solidFill>
                  <a:srgbClr val="FFB229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3" name="Text Box 13">
              <a:extLst>
                <a:ext uri="{FF2B5EF4-FFF2-40B4-BE49-F238E27FC236}">
                  <a16:creationId xmlns:a16="http://schemas.microsoft.com/office/drawing/2014/main" id="{F83A712B-55C4-7DB2-3B2B-4A7C34754D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76" y="3653"/>
              <a:ext cx="181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8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</p:grpSp>
      <p:grpSp>
        <p:nvGrpSpPr>
          <p:cNvPr id="14" name="Group 14">
            <a:extLst>
              <a:ext uri="{FF2B5EF4-FFF2-40B4-BE49-F238E27FC236}">
                <a16:creationId xmlns:a16="http://schemas.microsoft.com/office/drawing/2014/main" id="{8C4DA3E8-5D33-A3BC-BE0E-3BC52298CB5E}"/>
              </a:ext>
            </a:extLst>
          </p:cNvPr>
          <p:cNvGrpSpPr>
            <a:grpSpLocks/>
          </p:cNvGrpSpPr>
          <p:nvPr/>
        </p:nvGrpSpPr>
        <p:grpSpPr bwMode="auto">
          <a:xfrm>
            <a:off x="3014460" y="1773129"/>
            <a:ext cx="1728787" cy="1533525"/>
            <a:chOff x="295" y="1107"/>
            <a:chExt cx="1089" cy="966"/>
          </a:xfrm>
        </p:grpSpPr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2DE80A8C-3A20-BAA5-2BB9-765D4C46E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" y="1107"/>
              <a:ext cx="226" cy="2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E04F5823-A572-643D-7F75-EE0EFBFF2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1162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0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7" name="Text Box 17">
              <a:extLst>
                <a:ext uri="{FF2B5EF4-FFF2-40B4-BE49-F238E27FC236}">
                  <a16:creationId xmlns:a16="http://schemas.microsoft.com/office/drawing/2014/main" id="{ED634E81-AEE8-6583-BB35-21CC3EA104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" y="1117"/>
              <a:ext cx="68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Dislike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8" name="Rectangle 18">
              <a:extLst>
                <a:ext uri="{FF2B5EF4-FFF2-40B4-BE49-F238E27FC236}">
                  <a16:creationId xmlns:a16="http://schemas.microsoft.com/office/drawing/2014/main" id="{7068A5B5-419B-4B54-9237-ABE448F5B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" y="1480"/>
              <a:ext cx="226" cy="2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F96B332C-8285-5A9B-145A-EDE5A04F2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1525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0" name="Text Box 20">
              <a:extLst>
                <a:ext uri="{FF2B5EF4-FFF2-40B4-BE49-F238E27FC236}">
                  <a16:creationId xmlns:a16="http://schemas.microsoft.com/office/drawing/2014/main" id="{E99AB29C-AC16-28A0-9251-31A44E331F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" y="1480"/>
              <a:ext cx="68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Like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089BA964-5EE2-228D-4A6F-4C8F6B47D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" y="1797"/>
              <a:ext cx="226" cy="2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22" name="Rectangle 22">
              <a:extLst>
                <a:ext uri="{FF2B5EF4-FFF2-40B4-BE49-F238E27FC236}">
                  <a16:creationId xmlns:a16="http://schemas.microsoft.com/office/drawing/2014/main" id="{8408C072-B541-114C-93E4-CD2D3956A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1842"/>
              <a:ext cx="136" cy="136"/>
            </a:xfrm>
            <a:prstGeom prst="rect">
              <a:avLst/>
            </a:prstGeom>
            <a:solidFill>
              <a:srgbClr val="99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?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3" name="Text Box 23">
              <a:extLst>
                <a:ext uri="{FF2B5EF4-FFF2-40B4-BE49-F238E27FC236}">
                  <a16:creationId xmlns:a16="http://schemas.microsoft.com/office/drawing/2014/main" id="{2437E663-7969-0600-C025-4F45EF3AD1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" y="1842"/>
              <a:ext cx="817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Unknown</a:t>
              </a:r>
              <a:endParaRPr lang="it-IT" altLang="en-US" sz="18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</p:grpSp>
      <p:grpSp>
        <p:nvGrpSpPr>
          <p:cNvPr id="24" name="Group 24">
            <a:extLst>
              <a:ext uri="{FF2B5EF4-FFF2-40B4-BE49-F238E27FC236}">
                <a16:creationId xmlns:a16="http://schemas.microsoft.com/office/drawing/2014/main" id="{9A657361-F4FE-F1C1-F9CD-2A74D82CC5A7}"/>
              </a:ext>
            </a:extLst>
          </p:cNvPr>
          <p:cNvGrpSpPr>
            <a:grpSpLocks/>
          </p:cNvGrpSpPr>
          <p:nvPr/>
        </p:nvGrpSpPr>
        <p:grpSpPr bwMode="auto">
          <a:xfrm>
            <a:off x="4525760" y="1141304"/>
            <a:ext cx="2520950" cy="4614862"/>
            <a:chOff x="1247" y="709"/>
            <a:chExt cx="1588" cy="2907"/>
          </a:xfrm>
        </p:grpSpPr>
        <p:sp>
          <p:nvSpPr>
            <p:cNvPr id="25" name="Rectangle 25">
              <a:extLst>
                <a:ext uri="{FF2B5EF4-FFF2-40B4-BE49-F238E27FC236}">
                  <a16:creationId xmlns:a16="http://schemas.microsoft.com/office/drawing/2014/main" id="{334EFCC1-F690-9B7D-4C6F-F9425D198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" y="1026"/>
              <a:ext cx="226" cy="259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26" name="Rectangle 26">
              <a:extLst>
                <a:ext uri="{FF2B5EF4-FFF2-40B4-BE49-F238E27FC236}">
                  <a16:creationId xmlns:a16="http://schemas.microsoft.com/office/drawing/2014/main" id="{BDAEE574-3740-9056-FCE1-517F8322D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07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7" name="Rectangle 27">
              <a:extLst>
                <a:ext uri="{FF2B5EF4-FFF2-40B4-BE49-F238E27FC236}">
                  <a16:creationId xmlns:a16="http://schemas.microsoft.com/office/drawing/2014/main" id="{411A43D6-4473-1E6B-BC01-A4914F251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257"/>
              <a:ext cx="136" cy="136"/>
            </a:xfrm>
            <a:prstGeom prst="rect">
              <a:avLst/>
            </a:prstGeom>
            <a:solidFill>
              <a:srgbClr val="99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?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8" name="Rectangle 28">
              <a:extLst>
                <a:ext uri="{FF2B5EF4-FFF2-40B4-BE49-F238E27FC236}">
                  <a16:creationId xmlns:a16="http://schemas.microsoft.com/office/drawing/2014/main" id="{612DFBE6-B21E-906E-61E7-6378886A5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43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0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9" name="Rectangle 29">
              <a:extLst>
                <a:ext uri="{FF2B5EF4-FFF2-40B4-BE49-F238E27FC236}">
                  <a16:creationId xmlns:a16="http://schemas.microsoft.com/office/drawing/2014/main" id="{6CDD4728-BC1F-DB05-0A2A-6CD22F5CE4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62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0" name="Rectangle 30">
              <a:extLst>
                <a:ext uri="{FF2B5EF4-FFF2-40B4-BE49-F238E27FC236}">
                  <a16:creationId xmlns:a16="http://schemas.microsoft.com/office/drawing/2014/main" id="{406D4C47-4722-371B-E81C-80A1B249D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802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1" name="Rectangle 31">
              <a:extLst>
                <a:ext uri="{FF2B5EF4-FFF2-40B4-BE49-F238E27FC236}">
                  <a16:creationId xmlns:a16="http://schemas.microsoft.com/office/drawing/2014/main" id="{2D189EF0-0ABE-B7F4-2EDA-8C2D30897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1983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0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id="{673DEF32-A1A9-610A-D365-3868A4081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216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3" name="Rectangle 33">
              <a:extLst>
                <a:ext uri="{FF2B5EF4-FFF2-40B4-BE49-F238E27FC236}">
                  <a16:creationId xmlns:a16="http://schemas.microsoft.com/office/drawing/2014/main" id="{2B7528C9-A917-3E76-8970-79B8DA7C9D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234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4" name="Rectangle 34">
              <a:extLst>
                <a:ext uri="{FF2B5EF4-FFF2-40B4-BE49-F238E27FC236}">
                  <a16:creationId xmlns:a16="http://schemas.microsoft.com/office/drawing/2014/main" id="{C39C0D1D-F01E-7EF6-C125-BCA23B196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2527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0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5" name="Rectangle 35">
              <a:extLst>
                <a:ext uri="{FF2B5EF4-FFF2-40B4-BE49-F238E27FC236}">
                  <a16:creationId xmlns:a16="http://schemas.microsoft.com/office/drawing/2014/main" id="{5C582790-3DAE-0BAE-B2A8-4D4EB8D1D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270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6" name="Rectangle 36">
              <a:extLst>
                <a:ext uri="{FF2B5EF4-FFF2-40B4-BE49-F238E27FC236}">
                  <a16:creationId xmlns:a16="http://schemas.microsoft.com/office/drawing/2014/main" id="{24F5FADD-A541-AEEC-CA9C-CC29483A5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289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7" name="Rectangle 37">
              <a:extLst>
                <a:ext uri="{FF2B5EF4-FFF2-40B4-BE49-F238E27FC236}">
                  <a16:creationId xmlns:a16="http://schemas.microsoft.com/office/drawing/2014/main" id="{1EF364D4-EB4A-29D2-A2F9-C64BFA881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3072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8" name="Rectangle 38">
              <a:extLst>
                <a:ext uri="{FF2B5EF4-FFF2-40B4-BE49-F238E27FC236}">
                  <a16:creationId xmlns:a16="http://schemas.microsoft.com/office/drawing/2014/main" id="{FB0236D2-7B85-4A0F-833B-7002CD7F2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325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000000"/>
                  </a:solidFill>
                  <a:latin typeface="Verdana" panose="020B0604030504040204" pitchFamily="34" charset="0"/>
                </a:rPr>
                <a:t>1</a:t>
              </a:r>
              <a:endParaRPr lang="it-IT" altLang="en-US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9" name="Rectangle 39">
              <a:extLst>
                <a:ext uri="{FF2B5EF4-FFF2-40B4-BE49-F238E27FC236}">
                  <a16:creationId xmlns:a16="http://schemas.microsoft.com/office/drawing/2014/main" id="{4FDBBB1F-6B67-6C34-4441-64BC256C1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343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>
                  <a:solidFill>
                    <a:srgbClr val="FFFFFF"/>
                  </a:solidFill>
                  <a:latin typeface="Verdana" panose="020B0604030504040204" pitchFamily="34" charset="0"/>
                </a:rPr>
                <a:t>0</a:t>
              </a:r>
              <a:endParaRPr lang="it-IT" altLang="en-US" sz="160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40" name="Text Box 40">
              <a:extLst>
                <a:ext uri="{FF2B5EF4-FFF2-40B4-BE49-F238E27FC236}">
                  <a16:creationId xmlns:a16="http://schemas.microsoft.com/office/drawing/2014/main" id="{DEBB586D-ED2F-D141-9642-428E43ED02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47" y="709"/>
              <a:ext cx="15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2400">
                  <a:solidFill>
                    <a:srgbClr val="000000"/>
                  </a:solidFill>
                  <a:latin typeface="Comic Sans MS" panose="030F0702030302020204" pitchFamily="66" charset="0"/>
                </a:rPr>
                <a:t>Current User</a:t>
              </a:r>
              <a:endParaRPr lang="it-IT" altLang="en-US" sz="24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</p:grpSp>
      <p:grpSp>
        <p:nvGrpSpPr>
          <p:cNvPr id="41" name="Group 41">
            <a:extLst>
              <a:ext uri="{FF2B5EF4-FFF2-40B4-BE49-F238E27FC236}">
                <a16:creationId xmlns:a16="http://schemas.microsoft.com/office/drawing/2014/main" id="{59653894-B3E4-4F27-7855-5463A7988F6A}"/>
              </a:ext>
            </a:extLst>
          </p:cNvPr>
          <p:cNvGrpSpPr>
            <a:grpSpLocks/>
          </p:cNvGrpSpPr>
          <p:nvPr/>
        </p:nvGrpSpPr>
        <p:grpSpPr bwMode="auto">
          <a:xfrm>
            <a:off x="7765847" y="1212741"/>
            <a:ext cx="3502025" cy="4538663"/>
            <a:chOff x="3288" y="754"/>
            <a:chExt cx="2206" cy="2859"/>
          </a:xfrm>
        </p:grpSpPr>
        <p:sp>
          <p:nvSpPr>
            <p:cNvPr id="42" name="Text Box 42">
              <a:extLst>
                <a:ext uri="{FF2B5EF4-FFF2-40B4-BE49-F238E27FC236}">
                  <a16:creationId xmlns:a16="http://schemas.microsoft.com/office/drawing/2014/main" id="{8C27AAF1-56D3-A287-508B-D5FCD2FB84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60" y="754"/>
              <a:ext cx="122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2400">
                  <a:solidFill>
                    <a:srgbClr val="000000"/>
                  </a:solidFill>
                  <a:latin typeface="Comic Sans MS" panose="030F0702030302020204" pitchFamily="66" charset="0"/>
                </a:rPr>
                <a:t>Users</a:t>
              </a:r>
              <a:endParaRPr lang="it-IT" altLang="en-US" sz="24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43" name="Rectangle 43">
              <a:extLst>
                <a:ext uri="{FF2B5EF4-FFF2-40B4-BE49-F238E27FC236}">
                  <a16:creationId xmlns:a16="http://schemas.microsoft.com/office/drawing/2014/main" id="{DEE7E845-6F99-8DF0-BD1B-1E91FB0F8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8" y="1026"/>
              <a:ext cx="226" cy="258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44" name="Rectangle 44">
              <a:extLst>
                <a:ext uri="{FF2B5EF4-FFF2-40B4-BE49-F238E27FC236}">
                  <a16:creationId xmlns:a16="http://schemas.microsoft.com/office/drawing/2014/main" id="{049E58D1-FFBE-F5D3-4B32-F756BC0D7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072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5" name="Rectangle 45">
              <a:extLst>
                <a:ext uri="{FF2B5EF4-FFF2-40B4-BE49-F238E27FC236}">
                  <a16:creationId xmlns:a16="http://schemas.microsoft.com/office/drawing/2014/main" id="{4D9E8821-82ED-31FE-A18F-3A515622E7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253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6" name="Rectangle 46">
              <a:extLst>
                <a:ext uri="{FF2B5EF4-FFF2-40B4-BE49-F238E27FC236}">
                  <a16:creationId xmlns:a16="http://schemas.microsoft.com/office/drawing/2014/main" id="{96629C07-4B9D-0930-4CAD-3F1EA9878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435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7" name="Rectangle 47">
              <a:extLst>
                <a:ext uri="{FF2B5EF4-FFF2-40B4-BE49-F238E27FC236}">
                  <a16:creationId xmlns:a16="http://schemas.microsoft.com/office/drawing/2014/main" id="{D151A74D-4CE8-D57C-8E63-B45608ADB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61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8" name="Rectangle 48">
              <a:extLst>
                <a:ext uri="{FF2B5EF4-FFF2-40B4-BE49-F238E27FC236}">
                  <a16:creationId xmlns:a16="http://schemas.microsoft.com/office/drawing/2014/main" id="{62C5467D-D665-74AB-736A-71E1FA86C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798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9" name="Rectangle 49">
              <a:extLst>
                <a:ext uri="{FF2B5EF4-FFF2-40B4-BE49-F238E27FC236}">
                  <a16:creationId xmlns:a16="http://schemas.microsoft.com/office/drawing/2014/main" id="{8F5E5012-CE3D-36B4-46C8-3B8E0226E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197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0" name="Rectangle 50">
              <a:extLst>
                <a:ext uri="{FF2B5EF4-FFF2-40B4-BE49-F238E27FC236}">
                  <a16:creationId xmlns:a16="http://schemas.microsoft.com/office/drawing/2014/main" id="{50D03C40-D7C8-5E36-A60A-657B1D383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216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1" name="Rectangle 51">
              <a:extLst>
                <a:ext uri="{FF2B5EF4-FFF2-40B4-BE49-F238E27FC236}">
                  <a16:creationId xmlns:a16="http://schemas.microsoft.com/office/drawing/2014/main" id="{DB15CD2B-807A-4B95-063D-7576933C1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2342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2" name="Rectangle 52">
              <a:extLst>
                <a:ext uri="{FF2B5EF4-FFF2-40B4-BE49-F238E27FC236}">
                  <a16:creationId xmlns:a16="http://schemas.microsoft.com/office/drawing/2014/main" id="{A634665E-378E-3E4D-9EA3-1EF7939E2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252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3" name="Rectangle 53">
              <a:extLst>
                <a:ext uri="{FF2B5EF4-FFF2-40B4-BE49-F238E27FC236}">
                  <a16:creationId xmlns:a16="http://schemas.microsoft.com/office/drawing/2014/main" id="{59580E25-E8C2-A2FF-DABD-2FA30FE60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2705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4" name="Rectangle 54">
              <a:extLst>
                <a:ext uri="{FF2B5EF4-FFF2-40B4-BE49-F238E27FC236}">
                  <a16:creationId xmlns:a16="http://schemas.microsoft.com/office/drawing/2014/main" id="{64C33344-3A99-F176-A129-1E5EAEA09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2886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5" name="Rectangle 55">
              <a:extLst>
                <a:ext uri="{FF2B5EF4-FFF2-40B4-BE49-F238E27FC236}">
                  <a16:creationId xmlns:a16="http://schemas.microsoft.com/office/drawing/2014/main" id="{B30EC843-5C49-DA74-05D1-7896D122D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3068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6" name="Rectangle 56">
              <a:extLst>
                <a:ext uri="{FF2B5EF4-FFF2-40B4-BE49-F238E27FC236}">
                  <a16:creationId xmlns:a16="http://schemas.microsoft.com/office/drawing/2014/main" id="{0ADEBCFE-CFD6-E1F6-B2EF-1291D0165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324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7" name="Rectangle 57">
              <a:extLst>
                <a:ext uri="{FF2B5EF4-FFF2-40B4-BE49-F238E27FC236}">
                  <a16:creationId xmlns:a16="http://schemas.microsoft.com/office/drawing/2014/main" id="{3D282F2B-A9CB-FEB8-81B5-BEF731D01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343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8" name="Rectangle 58">
              <a:extLst>
                <a:ext uri="{FF2B5EF4-FFF2-40B4-BE49-F238E27FC236}">
                  <a16:creationId xmlns:a16="http://schemas.microsoft.com/office/drawing/2014/main" id="{2079AC03-2B47-D16F-B937-B36E7564D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6" y="1026"/>
              <a:ext cx="226" cy="25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59" name="Rectangle 59">
              <a:extLst>
                <a:ext uri="{FF2B5EF4-FFF2-40B4-BE49-F238E27FC236}">
                  <a16:creationId xmlns:a16="http://schemas.microsoft.com/office/drawing/2014/main" id="{920ECE64-8B7A-FD9A-C2A7-2EED524DE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073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0" name="Rectangle 60">
              <a:extLst>
                <a:ext uri="{FF2B5EF4-FFF2-40B4-BE49-F238E27FC236}">
                  <a16:creationId xmlns:a16="http://schemas.microsoft.com/office/drawing/2014/main" id="{94A4C762-F37C-735A-871F-A608AA2FC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25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1" name="Rectangle 61">
              <a:extLst>
                <a:ext uri="{FF2B5EF4-FFF2-40B4-BE49-F238E27FC236}">
                  <a16:creationId xmlns:a16="http://schemas.microsoft.com/office/drawing/2014/main" id="{BAAD4440-2383-F4C3-1FEC-336811F34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436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2" name="Rectangle 62">
              <a:extLst>
                <a:ext uri="{FF2B5EF4-FFF2-40B4-BE49-F238E27FC236}">
                  <a16:creationId xmlns:a16="http://schemas.microsoft.com/office/drawing/2014/main" id="{C1724698-1F37-74FA-E715-A86AACFFB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617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3" name="Rectangle 63">
              <a:extLst>
                <a:ext uri="{FF2B5EF4-FFF2-40B4-BE49-F238E27FC236}">
                  <a16:creationId xmlns:a16="http://schemas.microsoft.com/office/drawing/2014/main" id="{A2693ACB-EAFE-EF3E-14CC-DE16DDDAD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79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4" name="Rectangle 64">
              <a:extLst>
                <a:ext uri="{FF2B5EF4-FFF2-40B4-BE49-F238E27FC236}">
                  <a16:creationId xmlns:a16="http://schemas.microsoft.com/office/drawing/2014/main" id="{CBB88C80-B4C8-951F-49E0-17CE439D0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198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5" name="Rectangle 65">
              <a:extLst>
                <a:ext uri="{FF2B5EF4-FFF2-40B4-BE49-F238E27FC236}">
                  <a16:creationId xmlns:a16="http://schemas.microsoft.com/office/drawing/2014/main" id="{CF03C3A5-4AD4-C867-6786-845F8FDD4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2161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6" name="Rectangle 66">
              <a:extLst>
                <a:ext uri="{FF2B5EF4-FFF2-40B4-BE49-F238E27FC236}">
                  <a16:creationId xmlns:a16="http://schemas.microsoft.com/office/drawing/2014/main" id="{8D52735B-40D2-9062-32A5-B3DE89C16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234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7" name="Rectangle 67">
              <a:extLst>
                <a:ext uri="{FF2B5EF4-FFF2-40B4-BE49-F238E27FC236}">
                  <a16:creationId xmlns:a16="http://schemas.microsoft.com/office/drawing/2014/main" id="{5B53BE7C-7EC9-4AC1-B2BE-BD010D234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252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8" name="Rectangle 68">
              <a:extLst>
                <a:ext uri="{FF2B5EF4-FFF2-40B4-BE49-F238E27FC236}">
                  <a16:creationId xmlns:a16="http://schemas.microsoft.com/office/drawing/2014/main" id="{BA39F531-E8C3-FB57-37D6-B8AE7F8EB4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270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69" name="Rectangle 69">
              <a:extLst>
                <a:ext uri="{FF2B5EF4-FFF2-40B4-BE49-F238E27FC236}">
                  <a16:creationId xmlns:a16="http://schemas.microsoft.com/office/drawing/2014/main" id="{0C27CBE2-54E1-0ECA-DC2D-B2446013A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288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0" name="Rectangle 70">
              <a:extLst>
                <a:ext uri="{FF2B5EF4-FFF2-40B4-BE49-F238E27FC236}">
                  <a16:creationId xmlns:a16="http://schemas.microsoft.com/office/drawing/2014/main" id="{6B390D87-75F3-3BF2-D6A3-F46210F5E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306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1" name="Rectangle 71">
              <a:extLst>
                <a:ext uri="{FF2B5EF4-FFF2-40B4-BE49-F238E27FC236}">
                  <a16:creationId xmlns:a16="http://schemas.microsoft.com/office/drawing/2014/main" id="{FADFE75D-B856-6CD2-4E70-C1B611FA02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3250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2" name="Rectangle 72">
              <a:extLst>
                <a:ext uri="{FF2B5EF4-FFF2-40B4-BE49-F238E27FC236}">
                  <a16:creationId xmlns:a16="http://schemas.microsoft.com/office/drawing/2014/main" id="{3C9E2B6C-BBFB-9BC7-2DA5-A949850F7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1" y="343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3" name="Rectangle 73">
              <a:extLst>
                <a:ext uri="{FF2B5EF4-FFF2-40B4-BE49-F238E27FC236}">
                  <a16:creationId xmlns:a16="http://schemas.microsoft.com/office/drawing/2014/main" id="{688E7339-1AB9-D4DE-C724-69874054A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3" y="1026"/>
              <a:ext cx="227" cy="25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74" name="Rectangle 74">
              <a:extLst>
                <a:ext uri="{FF2B5EF4-FFF2-40B4-BE49-F238E27FC236}">
                  <a16:creationId xmlns:a16="http://schemas.microsoft.com/office/drawing/2014/main" id="{E01675C9-4AB9-8799-5BFF-94A964FE38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073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5" name="Rectangle 75">
              <a:extLst>
                <a:ext uri="{FF2B5EF4-FFF2-40B4-BE49-F238E27FC236}">
                  <a16:creationId xmlns:a16="http://schemas.microsoft.com/office/drawing/2014/main" id="{C8CBB482-E5E7-CFD0-E11A-2CBF9F94BC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25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6" name="Rectangle 76">
              <a:extLst>
                <a:ext uri="{FF2B5EF4-FFF2-40B4-BE49-F238E27FC236}">
                  <a16:creationId xmlns:a16="http://schemas.microsoft.com/office/drawing/2014/main" id="{8745A250-37BC-B2C1-8D2A-07A2031FF4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43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7" name="Rectangle 77">
              <a:extLst>
                <a:ext uri="{FF2B5EF4-FFF2-40B4-BE49-F238E27FC236}">
                  <a16:creationId xmlns:a16="http://schemas.microsoft.com/office/drawing/2014/main" id="{AB35E30F-74AA-2F5A-A942-921F8CD845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61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8" name="Rectangle 78">
              <a:extLst>
                <a:ext uri="{FF2B5EF4-FFF2-40B4-BE49-F238E27FC236}">
                  <a16:creationId xmlns:a16="http://schemas.microsoft.com/office/drawing/2014/main" id="{CF0D31BB-33CD-6CFF-41AF-608A01D305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79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9" name="Rectangle 79">
              <a:extLst>
                <a:ext uri="{FF2B5EF4-FFF2-40B4-BE49-F238E27FC236}">
                  <a16:creationId xmlns:a16="http://schemas.microsoft.com/office/drawing/2014/main" id="{76497F2D-567F-7444-C4D0-6306A90DC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198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0" name="Rectangle 80">
              <a:extLst>
                <a:ext uri="{FF2B5EF4-FFF2-40B4-BE49-F238E27FC236}">
                  <a16:creationId xmlns:a16="http://schemas.microsoft.com/office/drawing/2014/main" id="{4628DFDE-28CE-6E66-5501-9DF2CD64B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216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1" name="Rectangle 81">
              <a:extLst>
                <a:ext uri="{FF2B5EF4-FFF2-40B4-BE49-F238E27FC236}">
                  <a16:creationId xmlns:a16="http://schemas.microsoft.com/office/drawing/2014/main" id="{BA6C5067-6756-5837-0BB8-7A2A62E45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234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2" name="Rectangle 82">
              <a:extLst>
                <a:ext uri="{FF2B5EF4-FFF2-40B4-BE49-F238E27FC236}">
                  <a16:creationId xmlns:a16="http://schemas.microsoft.com/office/drawing/2014/main" id="{DD144067-7207-86F9-8B95-38D355FD0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252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3" name="Rectangle 83">
              <a:extLst>
                <a:ext uri="{FF2B5EF4-FFF2-40B4-BE49-F238E27FC236}">
                  <a16:creationId xmlns:a16="http://schemas.microsoft.com/office/drawing/2014/main" id="{057C18AA-92E9-9D9A-E6E0-10A71B6F1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270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4" name="Rectangle 84">
              <a:extLst>
                <a:ext uri="{FF2B5EF4-FFF2-40B4-BE49-F238E27FC236}">
                  <a16:creationId xmlns:a16="http://schemas.microsoft.com/office/drawing/2014/main" id="{A0F6D25D-290B-30F2-24AD-3CE0C849B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288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5" name="Rectangle 85">
              <a:extLst>
                <a:ext uri="{FF2B5EF4-FFF2-40B4-BE49-F238E27FC236}">
                  <a16:creationId xmlns:a16="http://schemas.microsoft.com/office/drawing/2014/main" id="{C3C36700-A9E7-F77A-635C-40F41AD66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306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6" name="Rectangle 86">
              <a:extLst>
                <a:ext uri="{FF2B5EF4-FFF2-40B4-BE49-F238E27FC236}">
                  <a16:creationId xmlns:a16="http://schemas.microsoft.com/office/drawing/2014/main" id="{4B22BE52-E95A-CAD1-E386-F1417E5C4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325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7" name="Rectangle 87">
              <a:extLst>
                <a:ext uri="{FF2B5EF4-FFF2-40B4-BE49-F238E27FC236}">
                  <a16:creationId xmlns:a16="http://schemas.microsoft.com/office/drawing/2014/main" id="{F97CAF1E-BBA1-3A8C-FB88-05F07DA92D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343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88" name="Rectangle 88">
              <a:extLst>
                <a:ext uri="{FF2B5EF4-FFF2-40B4-BE49-F238E27FC236}">
                  <a16:creationId xmlns:a16="http://schemas.microsoft.com/office/drawing/2014/main" id="{A793FF0A-B5DA-36C7-FDA9-DAD1D83CD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1" y="1026"/>
              <a:ext cx="226" cy="25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89" name="Rectangle 89">
              <a:extLst>
                <a:ext uri="{FF2B5EF4-FFF2-40B4-BE49-F238E27FC236}">
                  <a16:creationId xmlns:a16="http://schemas.microsoft.com/office/drawing/2014/main" id="{CA1F4844-D3C2-49D8-4FBB-0DB6691C9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07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0" name="Rectangle 90">
              <a:extLst>
                <a:ext uri="{FF2B5EF4-FFF2-40B4-BE49-F238E27FC236}">
                  <a16:creationId xmlns:a16="http://schemas.microsoft.com/office/drawing/2014/main" id="{E9ED1222-DC2B-51BA-F5CE-A60CF040F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25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1" name="Rectangle 91">
              <a:extLst>
                <a:ext uri="{FF2B5EF4-FFF2-40B4-BE49-F238E27FC236}">
                  <a16:creationId xmlns:a16="http://schemas.microsoft.com/office/drawing/2014/main" id="{D15D212E-E29A-F800-01F6-AD01C9880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43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2" name="Rectangle 92">
              <a:extLst>
                <a:ext uri="{FF2B5EF4-FFF2-40B4-BE49-F238E27FC236}">
                  <a16:creationId xmlns:a16="http://schemas.microsoft.com/office/drawing/2014/main" id="{4E11980A-56DF-7B11-2190-6A651ECD82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61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3" name="Rectangle 93">
              <a:extLst>
                <a:ext uri="{FF2B5EF4-FFF2-40B4-BE49-F238E27FC236}">
                  <a16:creationId xmlns:a16="http://schemas.microsoft.com/office/drawing/2014/main" id="{549C5F4F-0DA8-BDEC-D8BF-DBC3CFC8F4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79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4" name="Rectangle 94">
              <a:extLst>
                <a:ext uri="{FF2B5EF4-FFF2-40B4-BE49-F238E27FC236}">
                  <a16:creationId xmlns:a16="http://schemas.microsoft.com/office/drawing/2014/main" id="{33C09D58-17B9-BE07-3D8A-A00511920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98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5" name="Rectangle 95">
              <a:extLst>
                <a:ext uri="{FF2B5EF4-FFF2-40B4-BE49-F238E27FC236}">
                  <a16:creationId xmlns:a16="http://schemas.microsoft.com/office/drawing/2014/main" id="{E84A4C15-630E-9074-E4B2-0055EE0991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2161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6" name="Rectangle 96">
              <a:extLst>
                <a:ext uri="{FF2B5EF4-FFF2-40B4-BE49-F238E27FC236}">
                  <a16:creationId xmlns:a16="http://schemas.microsoft.com/office/drawing/2014/main" id="{7FB39D28-44D7-0205-AF79-A67E50E38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234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7" name="Rectangle 97">
              <a:extLst>
                <a:ext uri="{FF2B5EF4-FFF2-40B4-BE49-F238E27FC236}">
                  <a16:creationId xmlns:a16="http://schemas.microsoft.com/office/drawing/2014/main" id="{DCAFD8AD-B7A4-80F9-36D0-838EBF165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252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8" name="Rectangle 98">
              <a:extLst>
                <a:ext uri="{FF2B5EF4-FFF2-40B4-BE49-F238E27FC236}">
                  <a16:creationId xmlns:a16="http://schemas.microsoft.com/office/drawing/2014/main" id="{8ADD69C4-87BD-1B4A-755C-648DEB29F0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270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99" name="Rectangle 99">
              <a:extLst>
                <a:ext uri="{FF2B5EF4-FFF2-40B4-BE49-F238E27FC236}">
                  <a16:creationId xmlns:a16="http://schemas.microsoft.com/office/drawing/2014/main" id="{89119671-F30E-A800-D493-79B055AB5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288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0" name="Rectangle 100">
              <a:extLst>
                <a:ext uri="{FF2B5EF4-FFF2-40B4-BE49-F238E27FC236}">
                  <a16:creationId xmlns:a16="http://schemas.microsoft.com/office/drawing/2014/main" id="{4BB19425-2CEC-01EC-6184-7181B7670B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306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1" name="Rectangle 101">
              <a:extLst>
                <a:ext uri="{FF2B5EF4-FFF2-40B4-BE49-F238E27FC236}">
                  <a16:creationId xmlns:a16="http://schemas.microsoft.com/office/drawing/2014/main" id="{51D62C36-D2AF-C0CD-7E70-7500BFCCA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325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2" name="Rectangle 102">
              <a:extLst>
                <a:ext uri="{FF2B5EF4-FFF2-40B4-BE49-F238E27FC236}">
                  <a16:creationId xmlns:a16="http://schemas.microsoft.com/office/drawing/2014/main" id="{BD16FBF1-CE4C-F0D4-7619-C67F43335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3431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3" name="Rectangle 103">
              <a:extLst>
                <a:ext uri="{FF2B5EF4-FFF2-40B4-BE49-F238E27FC236}">
                  <a16:creationId xmlns:a16="http://schemas.microsoft.com/office/drawing/2014/main" id="{F550A143-CF9A-D154-AC81-8BDA60EBD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8" y="1026"/>
              <a:ext cx="227" cy="25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04" name="Rectangle 104">
              <a:extLst>
                <a:ext uri="{FF2B5EF4-FFF2-40B4-BE49-F238E27FC236}">
                  <a16:creationId xmlns:a16="http://schemas.microsoft.com/office/drawing/2014/main" id="{7D61728C-8EDA-AF34-10DE-02D73B38C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073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5" name="Rectangle 105">
              <a:extLst>
                <a:ext uri="{FF2B5EF4-FFF2-40B4-BE49-F238E27FC236}">
                  <a16:creationId xmlns:a16="http://schemas.microsoft.com/office/drawing/2014/main" id="{41011B58-D763-0FF3-CF44-6E0AEE816D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25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6" name="Rectangle 106">
              <a:extLst>
                <a:ext uri="{FF2B5EF4-FFF2-40B4-BE49-F238E27FC236}">
                  <a16:creationId xmlns:a16="http://schemas.microsoft.com/office/drawing/2014/main" id="{FB9D2260-E702-2B7D-AD0D-501A1DE46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436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7" name="Rectangle 107">
              <a:extLst>
                <a:ext uri="{FF2B5EF4-FFF2-40B4-BE49-F238E27FC236}">
                  <a16:creationId xmlns:a16="http://schemas.microsoft.com/office/drawing/2014/main" id="{56B0DE63-902E-3D8F-227A-433379823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61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8" name="Rectangle 108">
              <a:extLst>
                <a:ext uri="{FF2B5EF4-FFF2-40B4-BE49-F238E27FC236}">
                  <a16:creationId xmlns:a16="http://schemas.microsoft.com/office/drawing/2014/main" id="{B36B7DE8-FB6B-3311-6B28-E7007031D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79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9" name="Rectangle 109">
              <a:extLst>
                <a:ext uri="{FF2B5EF4-FFF2-40B4-BE49-F238E27FC236}">
                  <a16:creationId xmlns:a16="http://schemas.microsoft.com/office/drawing/2014/main" id="{C114A048-221C-F782-4D88-18AC3A9C8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98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0" name="Rectangle 110">
              <a:extLst>
                <a:ext uri="{FF2B5EF4-FFF2-40B4-BE49-F238E27FC236}">
                  <a16:creationId xmlns:a16="http://schemas.microsoft.com/office/drawing/2014/main" id="{A0D773EA-73D3-7DD7-CBD0-9F5C62EE5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2161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1" name="Rectangle 111">
              <a:extLst>
                <a:ext uri="{FF2B5EF4-FFF2-40B4-BE49-F238E27FC236}">
                  <a16:creationId xmlns:a16="http://schemas.microsoft.com/office/drawing/2014/main" id="{15E4E553-8D63-09C3-7C5D-C5AA1E91CA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234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2" name="Rectangle 112">
              <a:extLst>
                <a:ext uri="{FF2B5EF4-FFF2-40B4-BE49-F238E27FC236}">
                  <a16:creationId xmlns:a16="http://schemas.microsoft.com/office/drawing/2014/main" id="{837F2BF0-31A6-4B42-C133-0FF742097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252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3" name="Rectangle 113">
              <a:extLst>
                <a:ext uri="{FF2B5EF4-FFF2-40B4-BE49-F238E27FC236}">
                  <a16:creationId xmlns:a16="http://schemas.microsoft.com/office/drawing/2014/main" id="{17A6929F-14D5-8EC0-0DFC-B3D08692E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270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4" name="Rectangle 114">
              <a:extLst>
                <a:ext uri="{FF2B5EF4-FFF2-40B4-BE49-F238E27FC236}">
                  <a16:creationId xmlns:a16="http://schemas.microsoft.com/office/drawing/2014/main" id="{0D38C48B-E1ED-8FE1-DEF4-55D866A1C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288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5" name="Rectangle 115">
              <a:extLst>
                <a:ext uri="{FF2B5EF4-FFF2-40B4-BE49-F238E27FC236}">
                  <a16:creationId xmlns:a16="http://schemas.microsoft.com/office/drawing/2014/main" id="{57ECBE82-F6ED-126C-808A-F64B8131F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3069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6" name="Rectangle 116">
              <a:extLst>
                <a:ext uri="{FF2B5EF4-FFF2-40B4-BE49-F238E27FC236}">
                  <a16:creationId xmlns:a16="http://schemas.microsoft.com/office/drawing/2014/main" id="{4FBE6B7F-D5F4-4801-354F-C61384338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325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7" name="Rectangle 117">
              <a:extLst>
                <a:ext uri="{FF2B5EF4-FFF2-40B4-BE49-F238E27FC236}">
                  <a16:creationId xmlns:a16="http://schemas.microsoft.com/office/drawing/2014/main" id="{742EED0C-7C65-E65F-7AA0-D81A836A3C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343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18" name="Rectangle 118">
              <a:extLst>
                <a:ext uri="{FF2B5EF4-FFF2-40B4-BE49-F238E27FC236}">
                  <a16:creationId xmlns:a16="http://schemas.microsoft.com/office/drawing/2014/main" id="{E302EBE4-02D8-4E2A-E179-DF3783AEC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6" y="1026"/>
              <a:ext cx="226" cy="25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19" name="Rectangle 119">
              <a:extLst>
                <a:ext uri="{FF2B5EF4-FFF2-40B4-BE49-F238E27FC236}">
                  <a16:creationId xmlns:a16="http://schemas.microsoft.com/office/drawing/2014/main" id="{5BE613B1-E246-07F0-C670-5DDE5C19D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07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0" name="Rectangle 120">
              <a:extLst>
                <a:ext uri="{FF2B5EF4-FFF2-40B4-BE49-F238E27FC236}">
                  <a16:creationId xmlns:a16="http://schemas.microsoft.com/office/drawing/2014/main" id="{33EB8ACC-BE9D-45AA-BD34-F5320D6B19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254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1" name="Rectangle 121">
              <a:extLst>
                <a:ext uri="{FF2B5EF4-FFF2-40B4-BE49-F238E27FC236}">
                  <a16:creationId xmlns:a16="http://schemas.microsoft.com/office/drawing/2014/main" id="{FF451175-A42A-D8B4-B59A-5A6B2368C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436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2" name="Rectangle 122">
              <a:extLst>
                <a:ext uri="{FF2B5EF4-FFF2-40B4-BE49-F238E27FC236}">
                  <a16:creationId xmlns:a16="http://schemas.microsoft.com/office/drawing/2014/main" id="{B2C801F5-DE53-ECC0-65F8-688360D66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61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3" name="Rectangle 123">
              <a:extLst>
                <a:ext uri="{FF2B5EF4-FFF2-40B4-BE49-F238E27FC236}">
                  <a16:creationId xmlns:a16="http://schemas.microsoft.com/office/drawing/2014/main" id="{F901E318-C3DC-37EA-A5CB-0ECE381D1B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79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4" name="Rectangle 124">
              <a:extLst>
                <a:ext uri="{FF2B5EF4-FFF2-40B4-BE49-F238E27FC236}">
                  <a16:creationId xmlns:a16="http://schemas.microsoft.com/office/drawing/2014/main" id="{E5924983-6CC5-F424-27C2-332A633208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1980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5" name="Rectangle 125">
              <a:extLst>
                <a:ext uri="{FF2B5EF4-FFF2-40B4-BE49-F238E27FC236}">
                  <a16:creationId xmlns:a16="http://schemas.microsoft.com/office/drawing/2014/main" id="{DFEC3F63-3A14-882B-6EA2-1ECB5261B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216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6" name="Rectangle 126">
              <a:extLst>
                <a:ext uri="{FF2B5EF4-FFF2-40B4-BE49-F238E27FC236}">
                  <a16:creationId xmlns:a16="http://schemas.microsoft.com/office/drawing/2014/main" id="{53BA67CB-A16E-F9DD-FD24-031040805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234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7" name="Rectangle 127">
              <a:extLst>
                <a:ext uri="{FF2B5EF4-FFF2-40B4-BE49-F238E27FC236}">
                  <a16:creationId xmlns:a16="http://schemas.microsoft.com/office/drawing/2014/main" id="{87CECA37-7112-F9C8-061B-3A94BB5D98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2524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8" name="Rectangle 128">
              <a:extLst>
                <a:ext uri="{FF2B5EF4-FFF2-40B4-BE49-F238E27FC236}">
                  <a16:creationId xmlns:a16="http://schemas.microsoft.com/office/drawing/2014/main" id="{CDC94143-D328-A22A-3D19-2848C48BE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2706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29" name="Rectangle 129">
              <a:extLst>
                <a:ext uri="{FF2B5EF4-FFF2-40B4-BE49-F238E27FC236}">
                  <a16:creationId xmlns:a16="http://schemas.microsoft.com/office/drawing/2014/main" id="{B969DDFA-7567-3971-3835-2ABEBEC69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2887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30" name="Rectangle 130">
              <a:extLst>
                <a:ext uri="{FF2B5EF4-FFF2-40B4-BE49-F238E27FC236}">
                  <a16:creationId xmlns:a16="http://schemas.microsoft.com/office/drawing/2014/main" id="{6BED3704-D53D-30CA-5D6C-15597274C2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3069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31" name="Rectangle 131">
              <a:extLst>
                <a:ext uri="{FF2B5EF4-FFF2-40B4-BE49-F238E27FC236}">
                  <a16:creationId xmlns:a16="http://schemas.microsoft.com/office/drawing/2014/main" id="{67142B16-395E-3AD3-E578-3E4CB3953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3250"/>
              <a:ext cx="136" cy="13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32" name="Rectangle 132">
              <a:extLst>
                <a:ext uri="{FF2B5EF4-FFF2-40B4-BE49-F238E27FC236}">
                  <a16:creationId xmlns:a16="http://schemas.microsoft.com/office/drawing/2014/main" id="{341DCF74-F542-42DA-1B92-44FD10B11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" y="3431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33" name="Text Box 133">
              <a:extLst>
                <a:ext uri="{FF2B5EF4-FFF2-40B4-BE49-F238E27FC236}">
                  <a16:creationId xmlns:a16="http://schemas.microsoft.com/office/drawing/2014/main" id="{FEAF631C-BB8D-04B0-BA79-D1D8158DDE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48" y="1752"/>
              <a:ext cx="346" cy="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en-US" sz="2400">
                  <a:solidFill>
                    <a:srgbClr val="000000"/>
                  </a:solidFill>
                  <a:latin typeface="Comic Sans MS" panose="030F0702030302020204" pitchFamily="66" charset="0"/>
                </a:rPr>
                <a:t>Items</a:t>
              </a:r>
              <a:endParaRPr lang="it-IT" altLang="en-US" sz="2400">
                <a:solidFill>
                  <a:srgbClr val="000000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134" name="Rectangle 134">
              <a:extLst>
                <a:ext uri="{FF2B5EF4-FFF2-40B4-BE49-F238E27FC236}">
                  <a16:creationId xmlns:a16="http://schemas.microsoft.com/office/drawing/2014/main" id="{BC517821-75F8-2CD6-8956-C38BAB906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" y="1253"/>
              <a:ext cx="136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it-IT" altLang="en-US" sz="2400">
                <a:solidFill>
                  <a:srgbClr val="FFFFFF"/>
                </a:solidFill>
                <a:latin typeface="Times New Roman" panose="02020603050405020304" pitchFamily="18" charset="0"/>
              </a:endParaRPr>
            </a:p>
          </p:txBody>
        </p:sp>
      </p:grpSp>
      <p:sp>
        <p:nvSpPr>
          <p:cNvPr id="135" name="Text Box 135">
            <a:extLst>
              <a:ext uri="{FF2B5EF4-FFF2-40B4-BE49-F238E27FC236}">
                <a16:creationId xmlns:a16="http://schemas.microsoft.com/office/drawing/2014/main" id="{30188DBE-969C-EA50-69D9-B6C770DCEE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5897" y="4092466"/>
            <a:ext cx="2087563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9pPr>
          </a:lstStyle>
          <a:p>
            <a:pPr algn="l" rtl="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en-US" sz="2400">
                <a:solidFill>
                  <a:srgbClr val="000000"/>
                </a:solidFill>
                <a:latin typeface="Comic Sans MS" panose="030F0702030302020204" pitchFamily="66" charset="0"/>
              </a:rPr>
              <a:t>User Model = interaction history</a:t>
            </a:r>
            <a:endParaRPr lang="it-IT" altLang="en-US" sz="2400">
              <a:solidFill>
                <a:srgbClr val="000000"/>
              </a:solidFill>
              <a:latin typeface="Comic Sans MS" panose="030F0702030302020204" pitchFamily="66" charset="0"/>
            </a:endParaRPr>
          </a:p>
        </p:txBody>
      </p:sp>
      <p:sp>
        <p:nvSpPr>
          <p:cNvPr id="136" name="Rectangle 136">
            <a:extLst>
              <a:ext uri="{FF2B5EF4-FFF2-40B4-BE49-F238E27FC236}">
                <a16:creationId xmlns:a16="http://schemas.microsoft.com/office/drawing/2014/main" id="{CDA027C6-305C-A7AC-26C0-17911D842E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3460" y="1985854"/>
            <a:ext cx="5545137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9pPr>
          </a:lstStyle>
          <a:p>
            <a:pPr algn="ctr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137" name="Rectangle 137">
            <a:extLst>
              <a:ext uri="{FF2B5EF4-FFF2-40B4-BE49-F238E27FC236}">
                <a16:creationId xmlns:a16="http://schemas.microsoft.com/office/drawing/2014/main" id="{127DBC38-CCB5-0CBA-3CD3-769FB46A9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7922" y="2014429"/>
            <a:ext cx="215900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Tele-GroteskNor" charset="0"/>
              </a:defRPr>
            </a:lvl9pPr>
          </a:lstStyle>
          <a:p>
            <a:pPr algn="ctr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solidFill>
                  <a:srgbClr val="000000"/>
                </a:solidFill>
                <a:latin typeface="Verdana" panose="020B0604030504040204" pitchFamily="34" charset="0"/>
              </a:rPr>
              <a:t>1</a:t>
            </a:r>
            <a:endParaRPr lang="it-IT" alt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grpSp>
        <p:nvGrpSpPr>
          <p:cNvPr id="138" name="Group 138">
            <a:extLst>
              <a:ext uri="{FF2B5EF4-FFF2-40B4-BE49-F238E27FC236}">
                <a16:creationId xmlns:a16="http://schemas.microsoft.com/office/drawing/2014/main" id="{1BA794AC-29AC-9539-A6CA-4B80872470F1}"/>
              </a:ext>
            </a:extLst>
          </p:cNvPr>
          <p:cNvGrpSpPr>
            <a:grpSpLocks/>
          </p:cNvGrpSpPr>
          <p:nvPr/>
        </p:nvGrpSpPr>
        <p:grpSpPr bwMode="auto">
          <a:xfrm>
            <a:off x="5643360" y="1622316"/>
            <a:ext cx="1808162" cy="366713"/>
            <a:chOff x="1951" y="1012"/>
            <a:chExt cx="1139" cy="231"/>
          </a:xfrm>
        </p:grpSpPr>
        <p:sp>
          <p:nvSpPr>
            <p:cNvPr id="139" name="Text Box 139">
              <a:extLst>
                <a:ext uri="{FF2B5EF4-FFF2-40B4-BE49-F238E27FC236}">
                  <a16:creationId xmlns:a16="http://schemas.microsoft.com/office/drawing/2014/main" id="{E325FA24-375F-E31E-523D-58E58E0735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42" y="1012"/>
              <a:ext cx="94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1</a:t>
              </a:r>
              <a:r>
                <a:rPr lang="en-US" altLang="en-US" sz="1800" baseline="30000">
                  <a:solidFill>
                    <a:srgbClr val="000000"/>
                  </a:solidFill>
                  <a:latin typeface="Comic Sans MS" panose="030F0702030302020204" pitchFamily="66" charset="0"/>
                </a:rPr>
                <a:t>st</a:t>
              </a: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 item rate</a:t>
              </a:r>
            </a:p>
          </p:txBody>
        </p:sp>
        <p:sp>
          <p:nvSpPr>
            <p:cNvPr id="140" name="Line 140">
              <a:extLst>
                <a:ext uri="{FF2B5EF4-FFF2-40B4-BE49-F238E27FC236}">
                  <a16:creationId xmlns:a16="http://schemas.microsoft.com/office/drawing/2014/main" id="{7404B246-C9D4-E56D-1C40-5ADCE69E14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51" y="1130"/>
              <a:ext cx="227" cy="0"/>
            </a:xfrm>
            <a:prstGeom prst="line">
              <a:avLst/>
            </a:prstGeom>
            <a:noFill/>
            <a:ln w="44450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rtl="0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sz="2000">
                <a:solidFill>
                  <a:srgbClr val="000000"/>
                </a:solidFill>
                <a:latin typeface="Tele-GroteskNor" charset="0"/>
              </a:endParaRPr>
            </a:p>
          </p:txBody>
        </p:sp>
      </p:grpSp>
      <p:grpSp>
        <p:nvGrpSpPr>
          <p:cNvPr id="141" name="Group 141">
            <a:extLst>
              <a:ext uri="{FF2B5EF4-FFF2-40B4-BE49-F238E27FC236}">
                <a16:creationId xmlns:a16="http://schemas.microsoft.com/office/drawing/2014/main" id="{3D0ACC72-C3AA-6F49-09DD-A1BF6E324C60}"/>
              </a:ext>
            </a:extLst>
          </p:cNvPr>
          <p:cNvGrpSpPr>
            <a:grpSpLocks/>
          </p:cNvGrpSpPr>
          <p:nvPr/>
        </p:nvGrpSpPr>
        <p:grpSpPr bwMode="auto">
          <a:xfrm>
            <a:off x="5656060" y="5383104"/>
            <a:ext cx="1960562" cy="366712"/>
            <a:chOff x="1951" y="1012"/>
            <a:chExt cx="1235" cy="231"/>
          </a:xfrm>
        </p:grpSpPr>
        <p:sp>
          <p:nvSpPr>
            <p:cNvPr id="142" name="Text Box 142">
              <a:extLst>
                <a:ext uri="{FF2B5EF4-FFF2-40B4-BE49-F238E27FC236}">
                  <a16:creationId xmlns:a16="http://schemas.microsoft.com/office/drawing/2014/main" id="{A3A365B7-9473-63EE-DFAA-6A996E64F3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42" y="1012"/>
              <a:ext cx="1044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l" rtl="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14</a:t>
              </a:r>
              <a:r>
                <a:rPr lang="en-US" altLang="en-US" sz="1800" baseline="30000">
                  <a:solidFill>
                    <a:srgbClr val="000000"/>
                  </a:solidFill>
                  <a:latin typeface="Comic Sans MS" panose="030F0702030302020204" pitchFamily="66" charset="0"/>
                </a:rPr>
                <a:t>th</a:t>
              </a:r>
              <a:r>
                <a:rPr lang="en-US" altLang="en-US" sz="1800">
                  <a:solidFill>
                    <a:srgbClr val="000000"/>
                  </a:solidFill>
                  <a:latin typeface="Comic Sans MS" panose="030F0702030302020204" pitchFamily="66" charset="0"/>
                </a:rPr>
                <a:t> item rate</a:t>
              </a:r>
            </a:p>
          </p:txBody>
        </p:sp>
        <p:sp>
          <p:nvSpPr>
            <p:cNvPr id="143" name="Line 143">
              <a:extLst>
                <a:ext uri="{FF2B5EF4-FFF2-40B4-BE49-F238E27FC236}">
                  <a16:creationId xmlns:a16="http://schemas.microsoft.com/office/drawing/2014/main" id="{F6657110-9224-6CC7-A445-AB7B49A2DC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51" y="1130"/>
              <a:ext cx="227" cy="0"/>
            </a:xfrm>
            <a:prstGeom prst="line">
              <a:avLst/>
            </a:prstGeom>
            <a:noFill/>
            <a:ln w="44450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algn="ctr" rtl="0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sz="2000">
                <a:solidFill>
                  <a:srgbClr val="000000"/>
                </a:solidFill>
                <a:latin typeface="Tele-GroteskNor" charset="0"/>
              </a:endParaRPr>
            </a:p>
          </p:txBody>
        </p:sp>
      </p:grpSp>
      <p:sp>
        <p:nvSpPr>
          <p:cNvPr id="144" name="Rectangle 144">
            <a:extLst>
              <a:ext uri="{FF2B5EF4-FFF2-40B4-BE49-F238E27FC236}">
                <a16:creationId xmlns:a16="http://schemas.microsoft.com/office/drawing/2014/main" id="{2C0481AE-F39B-CA35-9D06-3110F21C2F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8828" y="1225443"/>
            <a:ext cx="8532813" cy="496888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Nearest Neighbor</a:t>
            </a:r>
            <a:br>
              <a:rPr lang="en-US" altLang="en-US" sz="1800" dirty="0">
                <a:solidFill>
                  <a:schemeClr val="tx1"/>
                </a:solidFill>
                <a:latin typeface="+mn-lt"/>
              </a:rPr>
            </a:br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Using predefined Similarity Measure</a:t>
            </a:r>
            <a:endParaRPr lang="it-IT" altLang="en-US" sz="18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45" name="Group 159">
            <a:extLst>
              <a:ext uri="{FF2B5EF4-FFF2-40B4-BE49-F238E27FC236}">
                <a16:creationId xmlns:a16="http://schemas.microsoft.com/office/drawing/2014/main" id="{10EE347E-B5FC-64A0-E8A3-EABC528F00E6}"/>
              </a:ext>
            </a:extLst>
          </p:cNvPr>
          <p:cNvGrpSpPr>
            <a:grpSpLocks/>
          </p:cNvGrpSpPr>
          <p:nvPr/>
        </p:nvGrpSpPr>
        <p:grpSpPr bwMode="auto">
          <a:xfrm>
            <a:off x="10070897" y="4594116"/>
            <a:ext cx="1350963" cy="1016000"/>
            <a:chOff x="4740" y="2884"/>
            <a:chExt cx="851" cy="640"/>
          </a:xfrm>
        </p:grpSpPr>
        <p:sp>
          <p:nvSpPr>
            <p:cNvPr id="146" name="AutoShape 149">
              <a:extLst>
                <a:ext uri="{FF2B5EF4-FFF2-40B4-BE49-F238E27FC236}">
                  <a16:creationId xmlns:a16="http://schemas.microsoft.com/office/drawing/2014/main" id="{71596CEC-816E-4381-BC90-2F32BE664DBA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740" y="2884"/>
              <a:ext cx="851" cy="640"/>
            </a:xfrm>
            <a:prstGeom prst="wedgeRectCallout">
              <a:avLst>
                <a:gd name="adj1" fmla="val -47532"/>
                <a:gd name="adj2" fmla="val 82032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DDDDD"/>
                </a:gs>
              </a:gsLst>
              <a:lin ang="5400000" scaled="1"/>
            </a:gra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 sz="2200">
                <a:solidFill>
                  <a:srgbClr val="000000"/>
                </a:solidFill>
              </a:endParaRPr>
            </a:p>
          </p:txBody>
        </p:sp>
        <p:grpSp>
          <p:nvGrpSpPr>
            <p:cNvPr id="147" name="Group 150">
              <a:extLst>
                <a:ext uri="{FF2B5EF4-FFF2-40B4-BE49-F238E27FC236}">
                  <a16:creationId xmlns:a16="http://schemas.microsoft.com/office/drawing/2014/main" id="{D139C102-9971-850E-E875-12A188BE1ED0}"/>
                </a:ext>
              </a:extLst>
            </p:cNvPr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4767" y="3096"/>
              <a:ext cx="785" cy="356"/>
              <a:chOff x="931" y="2332"/>
              <a:chExt cx="1090" cy="1361"/>
            </a:xfrm>
          </p:grpSpPr>
          <p:sp>
            <p:nvSpPr>
              <p:cNvPr id="154" name="AutoShape 151">
                <a:extLst>
                  <a:ext uri="{FF2B5EF4-FFF2-40B4-BE49-F238E27FC236}">
                    <a16:creationId xmlns:a16="http://schemas.microsoft.com/office/drawing/2014/main" id="{D6242286-6A82-CF33-F9F4-2487127BBF9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932" y="2332"/>
                <a:ext cx="1089" cy="1361"/>
              </a:xfrm>
              <a:prstGeom prst="roundRect">
                <a:avLst>
                  <a:gd name="adj" fmla="val 4685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DDDDDD"/>
                  </a:gs>
                </a:gsLst>
                <a:lin ang="5400000" scaled="1"/>
              </a:gradFill>
              <a:ln w="9525">
                <a:solidFill>
                  <a:schemeClr val="bg2"/>
                </a:solidFill>
                <a:round/>
                <a:headEnd/>
                <a:tailEnd/>
              </a:ln>
              <a:effectLst>
                <a:outerShdw dist="52363" dir="4557825" algn="ctr" rotWithShape="0">
                  <a:srgbClr val="C0C0C0">
                    <a:alpha val="50000"/>
                  </a:srgbClr>
                </a:outerShdw>
              </a:effectLst>
            </p:spPr>
            <p:txBody>
              <a:bodyPr anchor="ctr"/>
              <a:lstStyle/>
              <a:p>
                <a:pPr marL="85725" indent="-85725" algn="l" rtl="0" eaLnBrk="0" fontAlgn="base" hangingPunct="0">
                  <a:lnSpc>
                    <a:spcPct val="90000"/>
                  </a:lnSpc>
                  <a:spcBef>
                    <a:spcPts val="1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Tele-GroteskNor" charset="0"/>
                    <a:cs typeface="Arial" charset="0"/>
                  </a:rPr>
                  <a:t>Nearest Neighbor</a:t>
                </a:r>
              </a:p>
            </p:txBody>
          </p:sp>
          <p:sp>
            <p:nvSpPr>
              <p:cNvPr id="155" name="Text Box 152">
                <a:extLst>
                  <a:ext uri="{FF2B5EF4-FFF2-40B4-BE49-F238E27FC236}">
                    <a16:creationId xmlns:a16="http://schemas.microsoft.com/office/drawing/2014/main" id="{422EF8F6-F486-6BFA-9503-4F11F0E7D79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1" y="2361"/>
                <a:ext cx="1090" cy="1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marL="177800" indent="-1778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l" rtl="0" eaLnBrk="1" fontAlgn="base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0000"/>
                  </a:spcAft>
                  <a:buClr>
                    <a:srgbClr val="E20074"/>
                  </a:buClr>
                  <a:buFont typeface="Wingdings" panose="05000000000000000000" pitchFamily="2" charset="2"/>
                  <a:buChar char="§"/>
                </a:pPr>
                <a:endParaRPr lang="en-US" altLang="en-US" sz="14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8" name="Group 153">
              <a:extLst>
                <a:ext uri="{FF2B5EF4-FFF2-40B4-BE49-F238E27FC236}">
                  <a16:creationId xmlns:a16="http://schemas.microsoft.com/office/drawing/2014/main" id="{295B3D27-EAAE-0641-B299-9EC2148D201D}"/>
                </a:ext>
              </a:extLst>
            </p:cNvPr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4771" y="2927"/>
              <a:ext cx="793" cy="136"/>
              <a:chOff x="340" y="1888"/>
              <a:chExt cx="1105" cy="136"/>
            </a:xfrm>
          </p:grpSpPr>
          <p:sp>
            <p:nvSpPr>
              <p:cNvPr id="149" name="Text Box 83">
                <a:extLst>
                  <a:ext uri="{FF2B5EF4-FFF2-40B4-BE49-F238E27FC236}">
                    <a16:creationId xmlns:a16="http://schemas.microsoft.com/office/drawing/2014/main" id="{505EA1A2-E9B5-BDB1-A8D3-38F3EB9E790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67" y="1900"/>
                <a:ext cx="566" cy="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2000" tIns="36000" rIns="0" bIns="0"/>
              <a:lstStyle>
                <a:lvl1pPr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fontAlgn="base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0000"/>
                  <a:buFont typeface="Tele-GroteskUlt" pitchFamily="2" charset="0"/>
                  <a:buNone/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abcd</a:t>
                </a:r>
              </a:p>
            </p:txBody>
          </p:sp>
          <p:grpSp>
            <p:nvGrpSpPr>
              <p:cNvPr id="150" name="Group 155">
                <a:extLst>
                  <a:ext uri="{FF2B5EF4-FFF2-40B4-BE49-F238E27FC236}">
                    <a16:creationId xmlns:a16="http://schemas.microsoft.com/office/drawing/2014/main" id="{FE6AD178-7B59-DA7F-7446-4BF20A813BDE}"/>
                  </a:ext>
                </a:extLst>
              </p:cNvPr>
              <p:cNvGrpSpPr>
                <a:grpSpLocks/>
              </p:cNvGrpSpPr>
              <p:nvPr>
                <p:custDataLst>
                  <p:tags r:id="rId33"/>
                </p:custDataLst>
              </p:nvPr>
            </p:nvGrpSpPr>
            <p:grpSpPr bwMode="auto">
              <a:xfrm>
                <a:off x="340" y="1888"/>
                <a:ext cx="1089" cy="136"/>
                <a:chOff x="340" y="799"/>
                <a:chExt cx="2176" cy="590"/>
              </a:xfrm>
            </p:grpSpPr>
            <p:sp>
              <p:nvSpPr>
                <p:cNvPr id="152" name="AutoShape 156">
                  <a:extLst>
                    <a:ext uri="{FF2B5EF4-FFF2-40B4-BE49-F238E27FC236}">
                      <a16:creationId xmlns:a16="http://schemas.microsoft.com/office/drawing/2014/main" id="{4526ED50-264A-D0A6-1760-9B846F540A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0" y="799"/>
                  <a:ext cx="2176" cy="590"/>
                </a:xfrm>
                <a:prstGeom prst="roundRect">
                  <a:avLst>
                    <a:gd name="adj" fmla="val 7287"/>
                  </a:avLst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AutoShape 157">
                  <a:extLst>
                    <a:ext uri="{FF2B5EF4-FFF2-40B4-BE49-F238E27FC236}">
                      <a16:creationId xmlns:a16="http://schemas.microsoft.com/office/drawing/2014/main" id="{0406AE6F-C846-FE49-772F-AB797789F3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" y="807"/>
                  <a:ext cx="2169" cy="172"/>
                </a:xfrm>
                <a:prstGeom prst="roundRect">
                  <a:avLst>
                    <a:gd name="adj" fmla="val 28486"/>
                  </a:avLst>
                </a:prstGeom>
                <a:gradFill rotWithShape="1">
                  <a:gsLst>
                    <a:gs pos="0">
                      <a:schemeClr val="bg2"/>
                    </a:gs>
                    <a:gs pos="100000">
                      <a:schemeClr val="tx1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ctr" rtl="0" eaLnBrk="1" fontAlgn="base" hangingPunct="1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E20074"/>
                    </a:buClr>
                    <a:buSzPct val="75000"/>
                    <a:buFont typeface="Wingdings" panose="05000000000000000000" pitchFamily="2" charset="2"/>
                    <a:buNone/>
                  </a:pPr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1" name="Text Box 158">
                <a:extLst>
                  <a:ext uri="{FF2B5EF4-FFF2-40B4-BE49-F238E27FC236}">
                    <a16:creationId xmlns:a16="http://schemas.microsoft.com/office/drawing/2014/main" id="{BA81CBDF-AFCB-681B-27D0-AC560BBCBB3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55" y="1915"/>
                <a:ext cx="1090" cy="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000" b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56" name="Slide Number Placeholder 153">
            <a:extLst>
              <a:ext uri="{FF2B5EF4-FFF2-40B4-BE49-F238E27FC236}">
                <a16:creationId xmlns:a16="http://schemas.microsoft.com/office/drawing/2014/main" id="{ACB5D05A-DD1A-29CB-F65C-45BF6EEA3E1E}"/>
              </a:ext>
            </a:extLst>
          </p:cNvPr>
          <p:cNvSpPr txBox="1">
            <a:spLocks/>
          </p:cNvSpPr>
          <p:nvPr/>
        </p:nvSpPr>
        <p:spPr>
          <a:xfrm>
            <a:off x="8301038" y="6602413"/>
            <a:ext cx="539750" cy="1444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0" latinLnBrk="0" hangingPunct="0">
              <a:defRPr sz="2000" kern="1200" cap="all" baseline="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1pPr>
            <a:lvl2pPr marL="742950" indent="-285750" algn="l" defTabSz="457200" rtl="0" eaLnBrk="0" latinLnBrk="0" hangingPunct="0"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2pPr>
            <a:lvl3pPr marL="1143000" indent="-228600" algn="l" defTabSz="457200" rtl="0" eaLnBrk="0" latinLnBrk="0" hangingPunct="0"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3pPr>
            <a:lvl4pPr marL="1600200" indent="-228600" algn="l" defTabSz="457200" rtl="0" eaLnBrk="0" latinLnBrk="0" hangingPunct="0"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4pPr>
            <a:lvl5pPr marL="2057400" indent="-228600" algn="l" defTabSz="457200" rtl="0" eaLnBrk="0" latinLnBrk="0" hangingPunct="0"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5pPr>
            <a:lvl6pPr marL="2514600" indent="-228600" algn="ctr" defTabSz="4572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6pPr>
            <a:lvl7pPr marL="2971800" indent="-228600" algn="ctr" defTabSz="4572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7pPr>
            <a:lvl8pPr marL="3429000" indent="-228600" algn="ctr" defTabSz="4572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8pPr>
            <a:lvl9pPr marL="3886200" indent="-228600" algn="ctr" defTabSz="4572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2000" kern="1200">
                <a:solidFill>
                  <a:schemeClr val="tx1"/>
                </a:solidFill>
                <a:latin typeface="Tele-GroteskNor" charset="0"/>
                <a:ea typeface="+mn-ea"/>
                <a:cs typeface="+mn-cs"/>
              </a:defRPr>
            </a:lvl9pPr>
          </a:lstStyle>
          <a:p>
            <a:pPr eaLnBrk="1" hangingPunct="1"/>
            <a:fld id="{8470C27D-44D0-4079-BD67-655016245849}" type="slidenum">
              <a:rPr lang="he-IL" altLang="en-US" sz="900" smtClean="0">
                <a:solidFill>
                  <a:srgbClr val="000000"/>
                </a:solidFill>
                <a:latin typeface="Arial" panose="020B0604020202020204" pitchFamily="34" charset="0"/>
              </a:rPr>
              <a:pPr eaLnBrk="1" hangingPunct="1"/>
              <a:t>10</a:t>
            </a:fld>
            <a:endParaRPr lang="de-DE" altLang="en-US" sz="9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157" name="Group 173">
            <a:extLst>
              <a:ext uri="{FF2B5EF4-FFF2-40B4-BE49-F238E27FC236}">
                <a16:creationId xmlns:a16="http://schemas.microsoft.com/office/drawing/2014/main" id="{E8A9BFCF-58AA-4998-E88C-07810CBFE30E}"/>
              </a:ext>
            </a:extLst>
          </p:cNvPr>
          <p:cNvGrpSpPr>
            <a:grpSpLocks/>
          </p:cNvGrpSpPr>
          <p:nvPr/>
        </p:nvGrpSpPr>
        <p:grpSpPr bwMode="auto">
          <a:xfrm>
            <a:off x="5605260" y="2300179"/>
            <a:ext cx="1654175" cy="1660525"/>
            <a:chOff x="4716" y="1432"/>
            <a:chExt cx="851" cy="1046"/>
          </a:xfrm>
        </p:grpSpPr>
        <p:sp>
          <p:nvSpPr>
            <p:cNvPr id="158" name="AutoShape 162">
              <a:extLst>
                <a:ext uri="{FF2B5EF4-FFF2-40B4-BE49-F238E27FC236}">
                  <a16:creationId xmlns:a16="http://schemas.microsoft.com/office/drawing/2014/main" id="{FF87EEE8-2297-98F9-3A20-BCD5B1FAB31D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716" y="1432"/>
              <a:ext cx="851" cy="1046"/>
            </a:xfrm>
            <a:prstGeom prst="wedgeRectCallout">
              <a:avLst>
                <a:gd name="adj1" fmla="val -55287"/>
                <a:gd name="adj2" fmla="val -60421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DDDDD"/>
                </a:gs>
              </a:gsLst>
              <a:lin ang="5400000" scaled="1"/>
            </a:gra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 sz="2200">
                <a:solidFill>
                  <a:srgbClr val="000000"/>
                </a:solidFill>
              </a:endParaRPr>
            </a:p>
          </p:txBody>
        </p:sp>
        <p:grpSp>
          <p:nvGrpSpPr>
            <p:cNvPr id="159" name="Group 163">
              <a:extLst>
                <a:ext uri="{FF2B5EF4-FFF2-40B4-BE49-F238E27FC236}">
                  <a16:creationId xmlns:a16="http://schemas.microsoft.com/office/drawing/2014/main" id="{3A98AB8A-E10F-2573-AF4F-FEEB350F6E8E}"/>
                </a:ext>
              </a:extLst>
            </p:cNvPr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4743" y="1620"/>
              <a:ext cx="785" cy="797"/>
              <a:chOff x="931" y="2332"/>
              <a:chExt cx="1090" cy="1361"/>
            </a:xfrm>
          </p:grpSpPr>
          <p:sp>
            <p:nvSpPr>
              <p:cNvPr id="166" name="AutoShape 164">
                <a:extLst>
                  <a:ext uri="{FF2B5EF4-FFF2-40B4-BE49-F238E27FC236}">
                    <a16:creationId xmlns:a16="http://schemas.microsoft.com/office/drawing/2014/main" id="{8462A8B8-6263-5C83-4B0E-A82AE0DE432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932" y="2332"/>
                <a:ext cx="1089" cy="1361"/>
              </a:xfrm>
              <a:prstGeom prst="roundRect">
                <a:avLst>
                  <a:gd name="adj" fmla="val 4685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DDDDDD"/>
                  </a:gs>
                </a:gsLst>
                <a:lin ang="5400000" scaled="1"/>
              </a:gradFill>
              <a:ln w="9525">
                <a:solidFill>
                  <a:schemeClr val="bg2"/>
                </a:solidFill>
                <a:round/>
                <a:headEnd/>
                <a:tailEnd/>
              </a:ln>
              <a:effectLst>
                <a:outerShdw dist="52363" dir="4557825" algn="ctr" rotWithShape="0">
                  <a:srgbClr val="C0C0C0">
                    <a:alpha val="50000"/>
                  </a:srgbClr>
                </a:outerShdw>
              </a:effectLst>
            </p:spPr>
            <p:txBody>
              <a:bodyPr anchor="ctr"/>
              <a:lstStyle/>
              <a:p>
                <a:pPr marL="85725" indent="-85725" algn="l" rtl="0" eaLnBrk="0" fontAlgn="base" hangingPunct="0">
                  <a:lnSpc>
                    <a:spcPct val="90000"/>
                  </a:lnSpc>
                  <a:spcBef>
                    <a:spcPts val="1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Tele-GroteskNor" charset="0"/>
                    <a:cs typeface="Arial" charset="0"/>
                  </a:rPr>
                  <a:t>This user did not rate the item. We will try to predict a rating according to his neighbors.</a:t>
                </a:r>
              </a:p>
            </p:txBody>
          </p:sp>
          <p:sp>
            <p:nvSpPr>
              <p:cNvPr id="167" name="Text Box 165">
                <a:extLst>
                  <a:ext uri="{FF2B5EF4-FFF2-40B4-BE49-F238E27FC236}">
                    <a16:creationId xmlns:a16="http://schemas.microsoft.com/office/drawing/2014/main" id="{9DA6DDFE-7D94-5E1A-25F5-11B1B43289A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1" y="2361"/>
                <a:ext cx="1090" cy="1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marL="177800" indent="-1778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l" rtl="0" eaLnBrk="1" fontAlgn="base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0000"/>
                  </a:spcAft>
                  <a:buClr>
                    <a:srgbClr val="E20074"/>
                  </a:buClr>
                  <a:buFont typeface="Wingdings" panose="05000000000000000000" pitchFamily="2" charset="2"/>
                  <a:buChar char="§"/>
                </a:pPr>
                <a:endParaRPr lang="en-US" altLang="en-US" sz="14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0" name="Group 166">
              <a:extLst>
                <a:ext uri="{FF2B5EF4-FFF2-40B4-BE49-F238E27FC236}">
                  <a16:creationId xmlns:a16="http://schemas.microsoft.com/office/drawing/2014/main" id="{879A11B9-8D65-866D-2B4B-E923119B072B}"/>
                </a:ext>
              </a:extLst>
            </p:cNvPr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4747" y="1475"/>
              <a:ext cx="792" cy="136"/>
              <a:chOff x="340" y="1888"/>
              <a:chExt cx="1105" cy="136"/>
            </a:xfrm>
          </p:grpSpPr>
          <p:sp>
            <p:nvSpPr>
              <p:cNvPr id="161" name="Text Box 83">
                <a:extLst>
                  <a:ext uri="{FF2B5EF4-FFF2-40B4-BE49-F238E27FC236}">
                    <a16:creationId xmlns:a16="http://schemas.microsoft.com/office/drawing/2014/main" id="{8979C701-71A1-94B6-6FF9-D633B2933C7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67" y="1900"/>
                <a:ext cx="566" cy="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2000" tIns="36000" rIns="0" bIns="0"/>
              <a:lstStyle>
                <a:lvl1pPr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fontAlgn="base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0000"/>
                  <a:buFont typeface="Tele-GroteskUlt" pitchFamily="2" charset="0"/>
                  <a:buNone/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abcd</a:t>
                </a:r>
              </a:p>
            </p:txBody>
          </p:sp>
          <p:grpSp>
            <p:nvGrpSpPr>
              <p:cNvPr id="162" name="Group 168">
                <a:extLst>
                  <a:ext uri="{FF2B5EF4-FFF2-40B4-BE49-F238E27FC236}">
                    <a16:creationId xmlns:a16="http://schemas.microsoft.com/office/drawing/2014/main" id="{B2DAAC04-6ADF-F204-F449-1C60FBE7F661}"/>
                  </a:ext>
                </a:extLst>
              </p:cNvPr>
              <p:cNvGrpSpPr>
                <a:grpSpLocks/>
              </p:cNvGrpSpPr>
              <p:nvPr>
                <p:custDataLst>
                  <p:tags r:id="rId26"/>
                </p:custDataLst>
              </p:nvPr>
            </p:nvGrpSpPr>
            <p:grpSpPr bwMode="auto">
              <a:xfrm>
                <a:off x="340" y="1888"/>
                <a:ext cx="1089" cy="136"/>
                <a:chOff x="340" y="799"/>
                <a:chExt cx="2176" cy="590"/>
              </a:xfrm>
            </p:grpSpPr>
            <p:sp>
              <p:nvSpPr>
                <p:cNvPr id="164" name="AutoShape 169">
                  <a:extLst>
                    <a:ext uri="{FF2B5EF4-FFF2-40B4-BE49-F238E27FC236}">
                      <a16:creationId xmlns:a16="http://schemas.microsoft.com/office/drawing/2014/main" id="{C9630EF4-CF42-3B3B-F8FD-4F852347D7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0" y="799"/>
                  <a:ext cx="2176" cy="590"/>
                </a:xfrm>
                <a:prstGeom prst="roundRect">
                  <a:avLst>
                    <a:gd name="adj" fmla="val 7287"/>
                  </a:avLst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AutoShape 170">
                  <a:extLst>
                    <a:ext uri="{FF2B5EF4-FFF2-40B4-BE49-F238E27FC236}">
                      <a16:creationId xmlns:a16="http://schemas.microsoft.com/office/drawing/2014/main" id="{FBAAC2BB-E49A-B759-84A6-A7DB5E2FF0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" y="807"/>
                  <a:ext cx="2169" cy="172"/>
                </a:xfrm>
                <a:prstGeom prst="roundRect">
                  <a:avLst>
                    <a:gd name="adj" fmla="val 28486"/>
                  </a:avLst>
                </a:prstGeom>
                <a:gradFill rotWithShape="1">
                  <a:gsLst>
                    <a:gs pos="0">
                      <a:schemeClr val="bg2"/>
                    </a:gs>
                    <a:gs pos="100000">
                      <a:schemeClr val="tx1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ctr" rtl="0" eaLnBrk="1" fontAlgn="base" hangingPunct="1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E20074"/>
                    </a:buClr>
                    <a:buSzPct val="75000"/>
                    <a:buFont typeface="Wingdings" panose="05000000000000000000" pitchFamily="2" charset="2"/>
                    <a:buNone/>
                  </a:pPr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3" name="Text Box 171">
                <a:extLst>
                  <a:ext uri="{FF2B5EF4-FFF2-40B4-BE49-F238E27FC236}">
                    <a16:creationId xmlns:a16="http://schemas.microsoft.com/office/drawing/2014/main" id="{0297A170-7C29-E30A-3D17-C8A3BCD8D52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55" y="1915"/>
                <a:ext cx="1090" cy="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Unknown Rating</a:t>
                </a:r>
              </a:p>
            </p:txBody>
          </p:sp>
        </p:grpSp>
      </p:grpSp>
      <p:grpSp>
        <p:nvGrpSpPr>
          <p:cNvPr id="168" name="Group 173">
            <a:extLst>
              <a:ext uri="{FF2B5EF4-FFF2-40B4-BE49-F238E27FC236}">
                <a16:creationId xmlns:a16="http://schemas.microsoft.com/office/drawing/2014/main" id="{AD94552D-E0C1-F0E0-892F-53DE71BEF8BC}"/>
              </a:ext>
            </a:extLst>
          </p:cNvPr>
          <p:cNvGrpSpPr>
            <a:grpSpLocks/>
          </p:cNvGrpSpPr>
          <p:nvPr/>
        </p:nvGrpSpPr>
        <p:grpSpPr bwMode="auto">
          <a:xfrm>
            <a:off x="7441997" y="2411304"/>
            <a:ext cx="1654175" cy="1660525"/>
            <a:chOff x="4716" y="1432"/>
            <a:chExt cx="851" cy="1046"/>
          </a:xfrm>
        </p:grpSpPr>
        <p:sp>
          <p:nvSpPr>
            <p:cNvPr id="169" name="AutoShape 162">
              <a:extLst>
                <a:ext uri="{FF2B5EF4-FFF2-40B4-BE49-F238E27FC236}">
                  <a16:creationId xmlns:a16="http://schemas.microsoft.com/office/drawing/2014/main" id="{1796C9B4-2CD3-5E68-8934-DD5C9BFA12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716" y="1432"/>
              <a:ext cx="851" cy="1046"/>
            </a:xfrm>
            <a:prstGeom prst="wedgeRectCallout">
              <a:avLst>
                <a:gd name="adj1" fmla="val -55287"/>
                <a:gd name="adj2" fmla="val -60421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DDDDD"/>
                </a:gs>
              </a:gsLst>
              <a:lin ang="5400000" scaled="1"/>
            </a:gra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 sz="2200">
                <a:solidFill>
                  <a:srgbClr val="000000"/>
                </a:solidFill>
              </a:endParaRPr>
            </a:p>
          </p:txBody>
        </p:sp>
        <p:grpSp>
          <p:nvGrpSpPr>
            <p:cNvPr id="170" name="Group 163">
              <a:extLst>
                <a:ext uri="{FF2B5EF4-FFF2-40B4-BE49-F238E27FC236}">
                  <a16:creationId xmlns:a16="http://schemas.microsoft.com/office/drawing/2014/main" id="{9E60751A-D2D6-E863-BA03-5BE700BECB63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4743" y="1620"/>
              <a:ext cx="785" cy="797"/>
              <a:chOff x="931" y="2332"/>
              <a:chExt cx="1090" cy="1361"/>
            </a:xfrm>
          </p:grpSpPr>
          <p:sp>
            <p:nvSpPr>
              <p:cNvPr id="177" name="AutoShape 164">
                <a:extLst>
                  <a:ext uri="{FF2B5EF4-FFF2-40B4-BE49-F238E27FC236}">
                    <a16:creationId xmlns:a16="http://schemas.microsoft.com/office/drawing/2014/main" id="{AC0D5A2C-D967-1050-C111-3B1791DEFF9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932" y="2332"/>
                <a:ext cx="1089" cy="1361"/>
              </a:xfrm>
              <a:prstGeom prst="roundRect">
                <a:avLst>
                  <a:gd name="adj" fmla="val 4685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DDDDDD"/>
                  </a:gs>
                </a:gsLst>
                <a:lin ang="5400000" scaled="1"/>
              </a:gradFill>
              <a:ln w="9525">
                <a:solidFill>
                  <a:schemeClr val="bg2"/>
                </a:solidFill>
                <a:round/>
                <a:headEnd/>
                <a:tailEnd/>
              </a:ln>
              <a:effectLst>
                <a:outerShdw dist="52363" dir="4557825" algn="ctr" rotWithShape="0">
                  <a:srgbClr val="C0C0C0">
                    <a:alpha val="50000"/>
                  </a:srgbClr>
                </a:outerShdw>
              </a:effectLst>
            </p:spPr>
            <p:txBody>
              <a:bodyPr anchor="ctr"/>
              <a:lstStyle/>
              <a:p>
                <a:pPr marL="85725" indent="-85725" algn="l" rtl="0" eaLnBrk="0" fontAlgn="base" hangingPunct="0">
                  <a:lnSpc>
                    <a:spcPct val="90000"/>
                  </a:lnSpc>
                  <a:spcBef>
                    <a:spcPts val="1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Tele-GroteskNor" charset="0"/>
                    <a:cs typeface="Arial" charset="0"/>
                  </a:rPr>
                  <a:t>There are other users who rated the same item. We are interested in the Nearest Neighbors.</a:t>
                </a:r>
              </a:p>
            </p:txBody>
          </p:sp>
          <p:sp>
            <p:nvSpPr>
              <p:cNvPr id="178" name="Text Box 165">
                <a:extLst>
                  <a:ext uri="{FF2B5EF4-FFF2-40B4-BE49-F238E27FC236}">
                    <a16:creationId xmlns:a16="http://schemas.microsoft.com/office/drawing/2014/main" id="{27F4FCFC-9615-C6DB-5526-1655F2C513E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1" y="2361"/>
                <a:ext cx="1090" cy="1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marL="177800" indent="-1778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l" rtl="0" eaLnBrk="1" fontAlgn="base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0000"/>
                  </a:spcAft>
                  <a:buClr>
                    <a:srgbClr val="E20074"/>
                  </a:buClr>
                  <a:buFont typeface="Wingdings" panose="05000000000000000000" pitchFamily="2" charset="2"/>
                  <a:buChar char="§"/>
                </a:pPr>
                <a:endParaRPr lang="en-US" altLang="en-US" sz="14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1" name="Group 166">
              <a:extLst>
                <a:ext uri="{FF2B5EF4-FFF2-40B4-BE49-F238E27FC236}">
                  <a16:creationId xmlns:a16="http://schemas.microsoft.com/office/drawing/2014/main" id="{58E2E1B8-6EB8-2719-64F1-100AAB9E3F68}"/>
                </a:ext>
              </a:extLst>
            </p:cNvPr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747" y="1475"/>
              <a:ext cx="792" cy="136"/>
              <a:chOff x="340" y="1888"/>
              <a:chExt cx="1105" cy="136"/>
            </a:xfrm>
          </p:grpSpPr>
          <p:sp>
            <p:nvSpPr>
              <p:cNvPr id="172" name="Text Box 83">
                <a:extLst>
                  <a:ext uri="{FF2B5EF4-FFF2-40B4-BE49-F238E27FC236}">
                    <a16:creationId xmlns:a16="http://schemas.microsoft.com/office/drawing/2014/main" id="{080B6C43-539E-0D2C-C028-AB1461DD537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67" y="1900"/>
                <a:ext cx="566" cy="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2000" tIns="36000" rIns="0" bIns="0"/>
              <a:lstStyle>
                <a:lvl1pPr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fontAlgn="base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0000"/>
                  <a:buFont typeface="Tele-GroteskUlt" pitchFamily="2" charset="0"/>
                  <a:buNone/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abcd</a:t>
                </a:r>
              </a:p>
            </p:txBody>
          </p:sp>
          <p:grpSp>
            <p:nvGrpSpPr>
              <p:cNvPr id="173" name="Group 168">
                <a:extLst>
                  <a:ext uri="{FF2B5EF4-FFF2-40B4-BE49-F238E27FC236}">
                    <a16:creationId xmlns:a16="http://schemas.microsoft.com/office/drawing/2014/main" id="{B4C9C8F6-A245-8B08-54D5-1EBA3D2CAD99}"/>
                  </a:ext>
                </a:extLst>
              </p:cNvPr>
              <p:cNvGrpSpPr>
                <a:grpSpLocks/>
              </p:cNvGrpSpPr>
              <p:nvPr>
                <p:custDataLst>
                  <p:tags r:id="rId19"/>
                </p:custDataLst>
              </p:nvPr>
            </p:nvGrpSpPr>
            <p:grpSpPr bwMode="auto">
              <a:xfrm>
                <a:off x="340" y="1888"/>
                <a:ext cx="1089" cy="136"/>
                <a:chOff x="340" y="799"/>
                <a:chExt cx="2176" cy="590"/>
              </a:xfrm>
            </p:grpSpPr>
            <p:sp>
              <p:nvSpPr>
                <p:cNvPr id="175" name="AutoShape 169">
                  <a:extLst>
                    <a:ext uri="{FF2B5EF4-FFF2-40B4-BE49-F238E27FC236}">
                      <a16:creationId xmlns:a16="http://schemas.microsoft.com/office/drawing/2014/main" id="{AB98278E-8DD0-431C-CD8E-F09E19359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0" y="799"/>
                  <a:ext cx="2176" cy="590"/>
                </a:xfrm>
                <a:prstGeom prst="roundRect">
                  <a:avLst>
                    <a:gd name="adj" fmla="val 7287"/>
                  </a:avLst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6" name="AutoShape 170">
                  <a:extLst>
                    <a:ext uri="{FF2B5EF4-FFF2-40B4-BE49-F238E27FC236}">
                      <a16:creationId xmlns:a16="http://schemas.microsoft.com/office/drawing/2014/main" id="{32BD09E9-CC4F-0048-CE6B-F86AE09B70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" y="807"/>
                  <a:ext cx="2169" cy="172"/>
                </a:xfrm>
                <a:prstGeom prst="roundRect">
                  <a:avLst>
                    <a:gd name="adj" fmla="val 28486"/>
                  </a:avLst>
                </a:prstGeom>
                <a:gradFill rotWithShape="1">
                  <a:gsLst>
                    <a:gs pos="0">
                      <a:schemeClr val="bg2"/>
                    </a:gs>
                    <a:gs pos="100000">
                      <a:schemeClr val="tx1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ctr" rtl="0" eaLnBrk="1" fontAlgn="base" hangingPunct="1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E20074"/>
                    </a:buClr>
                    <a:buSzPct val="75000"/>
                    <a:buFont typeface="Wingdings" panose="05000000000000000000" pitchFamily="2" charset="2"/>
                    <a:buNone/>
                  </a:pPr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74" name="Text Box 171">
                <a:extLst>
                  <a:ext uri="{FF2B5EF4-FFF2-40B4-BE49-F238E27FC236}">
                    <a16:creationId xmlns:a16="http://schemas.microsoft.com/office/drawing/2014/main" id="{FFF3E004-D2D4-6A01-12A4-256508E76EB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55" y="1915"/>
                <a:ext cx="1090" cy="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Other Users</a:t>
                </a:r>
              </a:p>
            </p:txBody>
          </p:sp>
        </p:grpSp>
      </p:grpSp>
      <p:grpSp>
        <p:nvGrpSpPr>
          <p:cNvPr id="179" name="Group 199">
            <a:extLst>
              <a:ext uri="{FF2B5EF4-FFF2-40B4-BE49-F238E27FC236}">
                <a16:creationId xmlns:a16="http://schemas.microsoft.com/office/drawing/2014/main" id="{308260A5-AA1C-C635-359C-DEEA3C5E30C2}"/>
              </a:ext>
            </a:extLst>
          </p:cNvPr>
          <p:cNvGrpSpPr>
            <a:grpSpLocks/>
          </p:cNvGrpSpPr>
          <p:nvPr/>
        </p:nvGrpSpPr>
        <p:grpSpPr bwMode="auto">
          <a:xfrm>
            <a:off x="3879647" y="4349641"/>
            <a:ext cx="1654175" cy="1660525"/>
            <a:chOff x="1333501" y="4333875"/>
            <a:chExt cx="1654174" cy="1660525"/>
          </a:xfrm>
        </p:grpSpPr>
        <p:sp>
          <p:nvSpPr>
            <p:cNvPr id="180" name="AutoShape 162">
              <a:extLst>
                <a:ext uri="{FF2B5EF4-FFF2-40B4-BE49-F238E27FC236}">
                  <a16:creationId xmlns:a16="http://schemas.microsoft.com/office/drawing/2014/main" id="{AA79D2AE-D4B3-1DD9-F98F-9AB233714807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333501" y="4333875"/>
              <a:ext cx="1654174" cy="1660525"/>
            </a:xfrm>
            <a:prstGeom prst="wedgeRectCallout">
              <a:avLst>
                <a:gd name="adj1" fmla="val 61028"/>
                <a:gd name="adj2" fmla="val 58889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DDDDD"/>
                </a:gs>
              </a:gsLst>
              <a:lin ang="5400000" scaled="1"/>
            </a:gra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 sz="2200">
                <a:solidFill>
                  <a:srgbClr val="000000"/>
                </a:solidFill>
              </a:endParaRPr>
            </a:p>
          </p:txBody>
        </p:sp>
        <p:grpSp>
          <p:nvGrpSpPr>
            <p:cNvPr id="181" name="Group 163">
              <a:extLst>
                <a:ext uri="{FF2B5EF4-FFF2-40B4-BE49-F238E27FC236}">
                  <a16:creationId xmlns:a16="http://schemas.microsoft.com/office/drawing/2014/main" id="{26638FA5-40D5-F365-7705-844C0BEE6F69}"/>
                </a:ext>
              </a:extLst>
            </p:cNvPr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385984" y="4632325"/>
              <a:ext cx="1525883" cy="1265238"/>
              <a:chOff x="931" y="2332"/>
              <a:chExt cx="1090" cy="1361"/>
            </a:xfrm>
          </p:grpSpPr>
          <p:sp>
            <p:nvSpPr>
              <p:cNvPr id="188" name="AutoShape 164">
                <a:extLst>
                  <a:ext uri="{FF2B5EF4-FFF2-40B4-BE49-F238E27FC236}">
                    <a16:creationId xmlns:a16="http://schemas.microsoft.com/office/drawing/2014/main" id="{26E969E2-B4DE-49D8-40DD-4EB1749E4E6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932" y="2332"/>
                <a:ext cx="1089" cy="1361"/>
              </a:xfrm>
              <a:prstGeom prst="roundRect">
                <a:avLst>
                  <a:gd name="adj" fmla="val 4685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DDDDDD"/>
                  </a:gs>
                </a:gsLst>
                <a:lin ang="5400000" scaled="1"/>
              </a:gradFill>
              <a:ln w="9525">
                <a:solidFill>
                  <a:schemeClr val="bg2"/>
                </a:solidFill>
                <a:round/>
                <a:headEnd/>
                <a:tailEnd/>
              </a:ln>
              <a:effectLst>
                <a:outerShdw dist="52363" dir="4557825" algn="ctr" rotWithShape="0">
                  <a:srgbClr val="C0C0C0">
                    <a:alpha val="50000"/>
                  </a:srgbClr>
                </a:outerShdw>
              </a:effectLst>
            </p:spPr>
            <p:txBody>
              <a:bodyPr anchor="ctr"/>
              <a:lstStyle/>
              <a:p>
                <a:pPr marL="85725" indent="-85725" algn="l" rtl="0" eaLnBrk="0" fontAlgn="base" hangingPunct="0">
                  <a:lnSpc>
                    <a:spcPct val="90000"/>
                  </a:lnSpc>
                  <a:spcBef>
                    <a:spcPts val="1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Tele-GroteskNor" charset="0"/>
                    <a:cs typeface="Arial" charset="0"/>
                  </a:rPr>
                  <a:t>We are looking for the Nearest Neighbor. The one with the lowest Hamming distance.</a:t>
                </a:r>
              </a:p>
            </p:txBody>
          </p:sp>
          <p:sp>
            <p:nvSpPr>
              <p:cNvPr id="189" name="Text Box 165">
                <a:extLst>
                  <a:ext uri="{FF2B5EF4-FFF2-40B4-BE49-F238E27FC236}">
                    <a16:creationId xmlns:a16="http://schemas.microsoft.com/office/drawing/2014/main" id="{F5280BE0-C644-2CEE-C2DC-D982B1BE7A6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1" y="2361"/>
                <a:ext cx="1090" cy="1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marL="177800" indent="-1778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l" rtl="0" eaLnBrk="1" fontAlgn="base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0000"/>
                  </a:spcAft>
                  <a:buClr>
                    <a:srgbClr val="E20074"/>
                  </a:buClr>
                  <a:buFont typeface="Wingdings" panose="05000000000000000000" pitchFamily="2" charset="2"/>
                  <a:buChar char="§"/>
                </a:pPr>
                <a:endParaRPr lang="en-US" altLang="en-US" sz="14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2" name="Group 166">
              <a:extLst>
                <a:ext uri="{FF2B5EF4-FFF2-40B4-BE49-F238E27FC236}">
                  <a16:creationId xmlns:a16="http://schemas.microsoft.com/office/drawing/2014/main" id="{7DD6626E-A609-EA20-A69A-483729AE28E1}"/>
                </a:ext>
              </a:extLst>
            </p:cNvPr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1393759" y="4402138"/>
              <a:ext cx="1539490" cy="215900"/>
              <a:chOff x="340" y="1888"/>
              <a:chExt cx="1105" cy="136"/>
            </a:xfrm>
          </p:grpSpPr>
          <p:sp>
            <p:nvSpPr>
              <p:cNvPr id="183" name="Text Box 83">
                <a:extLst>
                  <a:ext uri="{FF2B5EF4-FFF2-40B4-BE49-F238E27FC236}">
                    <a16:creationId xmlns:a16="http://schemas.microsoft.com/office/drawing/2014/main" id="{CEE170C2-00A5-36E2-C07B-C6791642231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67" y="1900"/>
                <a:ext cx="566" cy="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2000" tIns="36000" rIns="0" bIns="0"/>
              <a:lstStyle>
                <a:lvl1pPr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fontAlgn="base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0000"/>
                  <a:buFont typeface="Tele-GroteskUlt" pitchFamily="2" charset="0"/>
                  <a:buNone/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abcd</a:t>
                </a:r>
              </a:p>
            </p:txBody>
          </p:sp>
          <p:grpSp>
            <p:nvGrpSpPr>
              <p:cNvPr id="184" name="Group 168">
                <a:extLst>
                  <a:ext uri="{FF2B5EF4-FFF2-40B4-BE49-F238E27FC236}">
                    <a16:creationId xmlns:a16="http://schemas.microsoft.com/office/drawing/2014/main" id="{1752BADE-7E90-E11D-5039-64F08D972EA8}"/>
                  </a:ext>
                </a:extLst>
              </p:cNvPr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 bwMode="auto">
              <a:xfrm>
                <a:off x="340" y="1888"/>
                <a:ext cx="1089" cy="136"/>
                <a:chOff x="340" y="799"/>
                <a:chExt cx="2176" cy="590"/>
              </a:xfrm>
            </p:grpSpPr>
            <p:sp>
              <p:nvSpPr>
                <p:cNvPr id="186" name="AutoShape 169">
                  <a:extLst>
                    <a:ext uri="{FF2B5EF4-FFF2-40B4-BE49-F238E27FC236}">
                      <a16:creationId xmlns:a16="http://schemas.microsoft.com/office/drawing/2014/main" id="{7A3D11D0-FEED-DF99-A8B9-BA2560FEB3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0" y="799"/>
                  <a:ext cx="2176" cy="590"/>
                </a:xfrm>
                <a:prstGeom prst="roundRect">
                  <a:avLst>
                    <a:gd name="adj" fmla="val 7287"/>
                  </a:avLst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7" name="AutoShape 170">
                  <a:extLst>
                    <a:ext uri="{FF2B5EF4-FFF2-40B4-BE49-F238E27FC236}">
                      <a16:creationId xmlns:a16="http://schemas.microsoft.com/office/drawing/2014/main" id="{71196302-3C15-974B-8A67-F9A5DF034A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" y="807"/>
                  <a:ext cx="2169" cy="172"/>
                </a:xfrm>
                <a:prstGeom prst="roundRect">
                  <a:avLst>
                    <a:gd name="adj" fmla="val 28486"/>
                  </a:avLst>
                </a:prstGeom>
                <a:gradFill rotWithShape="1">
                  <a:gsLst>
                    <a:gs pos="0">
                      <a:schemeClr val="bg2"/>
                    </a:gs>
                    <a:gs pos="100000">
                      <a:schemeClr val="tx1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ctr" rtl="0" eaLnBrk="1" fontAlgn="base" hangingPunct="1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E20074"/>
                    </a:buClr>
                    <a:buSzPct val="75000"/>
                    <a:buFont typeface="Wingdings" panose="05000000000000000000" pitchFamily="2" charset="2"/>
                    <a:buNone/>
                  </a:pPr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85" name="Text Box 171">
                <a:extLst>
                  <a:ext uri="{FF2B5EF4-FFF2-40B4-BE49-F238E27FC236}">
                    <a16:creationId xmlns:a16="http://schemas.microsoft.com/office/drawing/2014/main" id="{EB79BC9E-D137-4400-E4B1-04FD1DF98C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55" y="1915"/>
                <a:ext cx="1090" cy="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Nearest Neighbors</a:t>
                </a:r>
              </a:p>
            </p:txBody>
          </p:sp>
        </p:grpSp>
      </p:grpSp>
      <p:grpSp>
        <p:nvGrpSpPr>
          <p:cNvPr id="190" name="Group 173">
            <a:extLst>
              <a:ext uri="{FF2B5EF4-FFF2-40B4-BE49-F238E27FC236}">
                <a16:creationId xmlns:a16="http://schemas.microsoft.com/office/drawing/2014/main" id="{82E4CB56-E7B4-60F5-9C64-9A771ADFD5BF}"/>
              </a:ext>
            </a:extLst>
          </p:cNvPr>
          <p:cNvGrpSpPr>
            <a:grpSpLocks/>
          </p:cNvGrpSpPr>
          <p:nvPr/>
        </p:nvGrpSpPr>
        <p:grpSpPr bwMode="auto">
          <a:xfrm>
            <a:off x="5551285" y="2300179"/>
            <a:ext cx="1654175" cy="1660525"/>
            <a:chOff x="4716" y="1432"/>
            <a:chExt cx="851" cy="1046"/>
          </a:xfrm>
        </p:grpSpPr>
        <p:sp>
          <p:nvSpPr>
            <p:cNvPr id="191" name="AutoShape 162">
              <a:extLst>
                <a:ext uri="{FF2B5EF4-FFF2-40B4-BE49-F238E27FC236}">
                  <a16:creationId xmlns:a16="http://schemas.microsoft.com/office/drawing/2014/main" id="{E0E67482-8EA1-7E12-0661-95D044913E2D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16" y="1432"/>
              <a:ext cx="851" cy="1046"/>
            </a:xfrm>
            <a:prstGeom prst="wedgeRectCallout">
              <a:avLst>
                <a:gd name="adj1" fmla="val -55287"/>
                <a:gd name="adj2" fmla="val -60421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DDDDD"/>
                </a:gs>
              </a:gsLst>
              <a:lin ang="5400000" scaled="1"/>
            </a:gra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ele-GroteskNor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Tele-GroteskNor" charset="0"/>
                </a:defRPr>
              </a:lvl9pPr>
            </a:lstStyle>
            <a:p>
              <a:pPr algn="ctr" rtl="0"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anose="05000000000000000000" pitchFamily="2" charset="2"/>
                <a:buNone/>
              </a:pPr>
              <a:endParaRPr lang="en-US" altLang="en-US" sz="2200">
                <a:solidFill>
                  <a:srgbClr val="000000"/>
                </a:solidFill>
              </a:endParaRPr>
            </a:p>
          </p:txBody>
        </p:sp>
        <p:grpSp>
          <p:nvGrpSpPr>
            <p:cNvPr id="192" name="Group 163">
              <a:extLst>
                <a:ext uri="{FF2B5EF4-FFF2-40B4-BE49-F238E27FC236}">
                  <a16:creationId xmlns:a16="http://schemas.microsoft.com/office/drawing/2014/main" id="{15D41D3C-9577-F359-C08B-E978506F802D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4743" y="1620"/>
              <a:ext cx="785" cy="797"/>
              <a:chOff x="931" y="2332"/>
              <a:chExt cx="1090" cy="1361"/>
            </a:xfrm>
          </p:grpSpPr>
          <p:sp>
            <p:nvSpPr>
              <p:cNvPr id="199" name="AutoShape 164">
                <a:extLst>
                  <a:ext uri="{FF2B5EF4-FFF2-40B4-BE49-F238E27FC236}">
                    <a16:creationId xmlns:a16="http://schemas.microsoft.com/office/drawing/2014/main" id="{498A8B03-CCA3-9BDA-5CD3-7A55A966D9C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932" y="2332"/>
                <a:ext cx="1089" cy="1361"/>
              </a:xfrm>
              <a:prstGeom prst="roundRect">
                <a:avLst>
                  <a:gd name="adj" fmla="val 4685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DDDDDD"/>
                  </a:gs>
                </a:gsLst>
                <a:lin ang="5400000" scaled="1"/>
              </a:gradFill>
              <a:ln w="9525">
                <a:solidFill>
                  <a:schemeClr val="bg2"/>
                </a:solidFill>
                <a:round/>
                <a:headEnd/>
                <a:tailEnd/>
              </a:ln>
              <a:effectLst>
                <a:outerShdw dist="52363" dir="4557825" algn="ctr" rotWithShape="0">
                  <a:srgbClr val="C0C0C0">
                    <a:alpha val="50000"/>
                  </a:srgbClr>
                </a:outerShdw>
              </a:effectLst>
            </p:spPr>
            <p:txBody>
              <a:bodyPr anchor="ctr"/>
              <a:lstStyle/>
              <a:p>
                <a:pPr marL="85725" indent="-85725" algn="l" rtl="0" eaLnBrk="0" fontAlgn="base" hangingPunct="0">
                  <a:lnSpc>
                    <a:spcPct val="90000"/>
                  </a:lnSpc>
                  <a:spcBef>
                    <a:spcPts val="1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  <a:buFont typeface="Wingdings" panose="05000000000000000000" pitchFamily="2" charset="2"/>
                  <a:buChar char="§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Tele-GroteskNor" charset="0"/>
                    <a:cs typeface="Arial" charset="0"/>
                  </a:rPr>
                  <a:t>The prediction was made based on the nearest neighbor.</a:t>
                </a:r>
              </a:p>
            </p:txBody>
          </p:sp>
          <p:sp>
            <p:nvSpPr>
              <p:cNvPr id="200" name="Text Box 165">
                <a:extLst>
                  <a:ext uri="{FF2B5EF4-FFF2-40B4-BE49-F238E27FC236}">
                    <a16:creationId xmlns:a16="http://schemas.microsoft.com/office/drawing/2014/main" id="{EF519872-E141-59F6-C8BF-AB1CBAABF59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1" y="2361"/>
                <a:ext cx="1090" cy="1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marL="177800" indent="-1778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l" rtl="0" eaLnBrk="1" fontAlgn="base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0000"/>
                  </a:spcAft>
                  <a:buClr>
                    <a:srgbClr val="E20074"/>
                  </a:buClr>
                  <a:buFont typeface="Wingdings" panose="05000000000000000000" pitchFamily="2" charset="2"/>
                  <a:buChar char="§"/>
                </a:pPr>
                <a:endParaRPr lang="en-US" altLang="en-US" sz="14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3" name="Group 166">
              <a:extLst>
                <a:ext uri="{FF2B5EF4-FFF2-40B4-BE49-F238E27FC236}">
                  <a16:creationId xmlns:a16="http://schemas.microsoft.com/office/drawing/2014/main" id="{FC84E9CD-9485-A456-3A74-585F83A61F97}"/>
                </a:ext>
              </a:extLst>
            </p:cNvPr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4747" y="1475"/>
              <a:ext cx="792" cy="136"/>
              <a:chOff x="340" y="1888"/>
              <a:chExt cx="1105" cy="136"/>
            </a:xfrm>
          </p:grpSpPr>
          <p:sp>
            <p:nvSpPr>
              <p:cNvPr id="194" name="Text Box 83">
                <a:extLst>
                  <a:ext uri="{FF2B5EF4-FFF2-40B4-BE49-F238E27FC236}">
                    <a16:creationId xmlns:a16="http://schemas.microsoft.com/office/drawing/2014/main" id="{3C53DE5E-0A7F-C07C-6FA8-F659CE86BB7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67" y="1900"/>
                <a:ext cx="566" cy="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2000" tIns="36000" rIns="0" bIns="0"/>
              <a:lstStyle>
                <a:lvl1pPr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defTabSz="449263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defTabSz="449263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fontAlgn="base">
                  <a:lnSpc>
                    <a:spcPct val="7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0000"/>
                  <a:buFont typeface="Tele-GroteskUlt" pitchFamily="2" charset="0"/>
                  <a:buNone/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abcd</a:t>
                </a:r>
              </a:p>
            </p:txBody>
          </p:sp>
          <p:grpSp>
            <p:nvGrpSpPr>
              <p:cNvPr id="195" name="Group 168">
                <a:extLst>
                  <a:ext uri="{FF2B5EF4-FFF2-40B4-BE49-F238E27FC236}">
                    <a16:creationId xmlns:a16="http://schemas.microsoft.com/office/drawing/2014/main" id="{2F8EB2ED-1CD9-1F82-19D4-30FF3F36D332}"/>
                  </a:ext>
                </a:extLst>
              </p:cNvPr>
              <p:cNvGrpSpPr>
                <a:grpSpLocks/>
              </p:cNvGrpSpPr>
              <p:nvPr>
                <p:custDataLst>
                  <p:tags r:id="rId5"/>
                </p:custDataLst>
              </p:nvPr>
            </p:nvGrpSpPr>
            <p:grpSpPr bwMode="auto">
              <a:xfrm>
                <a:off x="340" y="1888"/>
                <a:ext cx="1089" cy="136"/>
                <a:chOff x="340" y="799"/>
                <a:chExt cx="2176" cy="590"/>
              </a:xfrm>
            </p:grpSpPr>
            <p:sp>
              <p:nvSpPr>
                <p:cNvPr id="197" name="AutoShape 169">
                  <a:extLst>
                    <a:ext uri="{FF2B5EF4-FFF2-40B4-BE49-F238E27FC236}">
                      <a16:creationId xmlns:a16="http://schemas.microsoft.com/office/drawing/2014/main" id="{9CD18232-17F9-C5FA-7E89-9E3DCABCD5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0" y="799"/>
                  <a:ext cx="2176" cy="590"/>
                </a:xfrm>
                <a:prstGeom prst="roundRect">
                  <a:avLst>
                    <a:gd name="adj" fmla="val 7287"/>
                  </a:avLst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8" name="AutoShape 170">
                  <a:extLst>
                    <a:ext uri="{FF2B5EF4-FFF2-40B4-BE49-F238E27FC236}">
                      <a16:creationId xmlns:a16="http://schemas.microsoft.com/office/drawing/2014/main" id="{F803531F-961A-6B00-417D-9012B2EC1B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" y="807"/>
                  <a:ext cx="2169" cy="172"/>
                </a:xfrm>
                <a:prstGeom prst="roundRect">
                  <a:avLst>
                    <a:gd name="adj" fmla="val 28486"/>
                  </a:avLst>
                </a:prstGeom>
                <a:gradFill rotWithShape="1">
                  <a:gsLst>
                    <a:gs pos="0">
                      <a:schemeClr val="bg2"/>
                    </a:gs>
                    <a:gs pos="100000">
                      <a:schemeClr val="tx1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5pPr>
                  <a:lvl6pPr marL="25146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6pPr>
                  <a:lvl7pPr marL="29718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7pPr>
                  <a:lvl8pPr marL="34290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8pPr>
                  <a:lvl9pPr marL="3886200" indent="-228600" algn="ctr" eaLnBrk="0" fontAlgn="base" hangingPunct="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5000"/>
                    <a:buFont typeface="Wingdings" panose="05000000000000000000" pitchFamily="2" charset="2"/>
                    <a:defRPr sz="2000">
                      <a:solidFill>
                        <a:schemeClr val="tx1"/>
                      </a:solidFill>
                      <a:latin typeface="Tele-GroteskNor" charset="0"/>
                    </a:defRPr>
                  </a:lvl9pPr>
                </a:lstStyle>
                <a:p>
                  <a:pPr algn="ctr" rtl="0" eaLnBrk="1" fontAlgn="base" hangingPunct="1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E20074"/>
                    </a:buClr>
                    <a:buSzPct val="75000"/>
                    <a:buFont typeface="Wingdings" panose="05000000000000000000" pitchFamily="2" charset="2"/>
                    <a:buNone/>
                  </a:pPr>
                  <a:endParaRPr lang="en-US" alt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6" name="Text Box 171">
                <a:extLst>
                  <a:ext uri="{FF2B5EF4-FFF2-40B4-BE49-F238E27FC236}">
                    <a16:creationId xmlns:a16="http://schemas.microsoft.com/office/drawing/2014/main" id="{F29E1C36-2EF6-FFE9-7B09-83AA1D85271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55" y="1915"/>
                <a:ext cx="1090" cy="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Tele-GroteskNor" charset="0"/>
                  </a:defRPr>
                </a:lvl9pPr>
              </a:lstStyle>
              <a:p>
                <a: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000" b="1">
                    <a:solidFill>
                      <a:srgbClr val="FFFFFF"/>
                    </a:solidFill>
                    <a:cs typeface="Arial" panose="020B0604020202020204" pitchFamily="34" charset="0"/>
                  </a:rPr>
                  <a:t>Predic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9514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0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2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58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5" grpId="0" autoUpdateAnimBg="0"/>
      <p:bldP spid="136" grpId="0" animBg="1"/>
      <p:bldP spid="137" grpId="0" animBg="1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FD7505E-E101-F081-EC5F-4A354B2C5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119" y="2107861"/>
            <a:ext cx="3306233" cy="38612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C1403A-0C11-9C34-DFB1-71397ED41846}"/>
              </a:ext>
            </a:extLst>
          </p:cNvPr>
          <p:cNvSpPr txBox="1"/>
          <p:nvPr/>
        </p:nvSpPr>
        <p:spPr>
          <a:xfrm>
            <a:off x="1178415" y="1332460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dirty="0"/>
              <a:t>Matrix factorization for recommendation problems</a:t>
            </a:r>
          </a:p>
        </p:txBody>
      </p:sp>
    </p:spTree>
    <p:extLst>
      <p:ext uri="{BB962C8B-B14F-4D97-AF65-F5344CB8AC3E}">
        <p14:creationId xmlns:p14="http://schemas.microsoft.com/office/powerpoint/2010/main" val="39094200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DCAD25F-1BF5-7C46-2C24-E8B7024005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3156" y="2104225"/>
            <a:ext cx="5856922" cy="364212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5269ED5-D099-7408-2D1B-C6D1C8F18058}"/>
              </a:ext>
            </a:extLst>
          </p:cNvPr>
          <p:cNvSpPr txBox="1"/>
          <p:nvPr/>
        </p:nvSpPr>
        <p:spPr>
          <a:xfrm>
            <a:off x="1170102" y="1315781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ural Network Model to Predict the Ratings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329205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2">
            <a:extLst>
              <a:ext uri="{FF2B5EF4-FFF2-40B4-BE49-F238E27FC236}">
                <a16:creationId xmlns:a16="http://schemas.microsoft.com/office/drawing/2014/main" id="{F080B83B-616A-7B11-C902-4AC6A8D8658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Collaborative Filtering</a:t>
            </a:r>
          </a:p>
        </p:txBody>
      </p:sp>
      <p:sp>
        <p:nvSpPr>
          <p:cNvPr id="27652" name="Rectangle 3">
            <a:extLst>
              <a:ext uri="{FF2B5EF4-FFF2-40B4-BE49-F238E27FC236}">
                <a16:creationId xmlns:a16="http://schemas.microsoft.com/office/drawing/2014/main" id="{8C4726EE-FE26-27AE-4ED9-BFE758685AF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154083" y="2011988"/>
            <a:ext cx="10058400" cy="4023360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altLang="en-US" sz="1800" dirty="0">
                <a:solidFill>
                  <a:schemeClr val="tx1"/>
                </a:solidFill>
              </a:rPr>
              <a:t>Maintain a database of many users’ ratings of a variety of items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altLang="en-US" sz="1800" dirty="0">
                <a:solidFill>
                  <a:schemeClr val="tx1"/>
                </a:solidFill>
              </a:rPr>
              <a:t>For a given user, find other similar users whose ratings strongly correlate with the current user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altLang="en-US" sz="1800" dirty="0">
                <a:solidFill>
                  <a:schemeClr val="tx1"/>
                </a:solidFill>
              </a:rPr>
              <a:t>Recommend items rated highly by these similar users, but not rated by the current user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altLang="en-US" sz="1800" dirty="0">
                <a:solidFill>
                  <a:schemeClr val="tx1"/>
                </a:solidFill>
              </a:rPr>
              <a:t>Almost all existing commercial recommenders use this approach (e.g. Amazon).</a:t>
            </a:r>
          </a:p>
          <a:p>
            <a:pPr eaLnBrk="1" hangingPunct="1"/>
            <a:endParaRPr lang="en-US" altLang="en-US" dirty="0"/>
          </a:p>
        </p:txBody>
      </p:sp>
      <p:sp>
        <p:nvSpPr>
          <p:cNvPr id="27650" name="Slide Number Placeholder 4">
            <a:extLst>
              <a:ext uri="{FF2B5EF4-FFF2-40B4-BE49-F238E27FC236}">
                <a16:creationId xmlns:a16="http://schemas.microsoft.com/office/drawing/2014/main" id="{1E03C95C-4417-DB8F-D7CD-711C7A21D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FFDA41CD-FE9B-4C43-B1FD-AE5C8EE09820}" type="slidenum">
              <a:rPr lang="en-US" altLang="en-US" sz="1200">
                <a:latin typeface="Helvetica" panose="020B0604020202020204" pitchFamily="34" charset="0"/>
              </a:rPr>
              <a:pPr eaLnBrk="1" hangingPunct="1"/>
              <a:t>13</a:t>
            </a:fld>
            <a:endParaRPr lang="en-US" altLang="en-US" sz="12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7A20665-2547-20C6-4998-5080B6FC46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4811" y="3881336"/>
            <a:ext cx="3866175" cy="2154012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ow Collaborative Filtering Works in Recommender Systems">
            <a:extLst>
              <a:ext uri="{FF2B5EF4-FFF2-40B4-BE49-F238E27FC236}">
                <a16:creationId xmlns:a16="http://schemas.microsoft.com/office/drawing/2014/main" id="{9CBC5924-7EA9-C5F1-3867-1DA607D78B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8880" y="2054300"/>
            <a:ext cx="6916170" cy="4023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97EDCF-1BD9-DB39-620F-0AA778898AF2}"/>
              </a:ext>
            </a:extLst>
          </p:cNvPr>
          <p:cNvSpPr txBox="1"/>
          <p:nvPr/>
        </p:nvSpPr>
        <p:spPr>
          <a:xfrm>
            <a:off x="1219893" y="1394752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dirty="0"/>
              <a:t>Collaborative Filtering vs Content-based Filtering</a:t>
            </a:r>
          </a:p>
        </p:txBody>
      </p:sp>
    </p:spTree>
    <p:extLst>
      <p:ext uri="{BB962C8B-B14F-4D97-AF65-F5344CB8AC3E}">
        <p14:creationId xmlns:p14="http://schemas.microsoft.com/office/powerpoint/2010/main" val="9793170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48AD0C3-DF07-C98B-203B-44615E78C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2582" y="1834696"/>
            <a:ext cx="5785997" cy="433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6241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>
            <a:extLst>
              <a:ext uri="{FF2B5EF4-FFF2-40B4-BE49-F238E27FC236}">
                <a16:creationId xmlns:a16="http://schemas.microsoft.com/office/drawing/2014/main" id="{72C06192-6AAA-47D2-422C-A7E107BBDD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latin typeface="+mn-lt"/>
              </a:rPr>
              <a:t>Collaborative Filtering Method</a:t>
            </a:r>
          </a:p>
        </p:txBody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C0F9A399-D36A-69EF-3B3C-4DFA95DA8D75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  <a:buFont typeface="Wingdings" panose="05000000000000000000" pitchFamily="2" charset="2"/>
              <a:buChar char="v"/>
            </a:pPr>
            <a:r>
              <a:rPr lang="en-US" altLang="en-US" sz="1800" dirty="0"/>
              <a:t>Weight all users with respect to similarity with the active user.</a:t>
            </a:r>
          </a:p>
          <a:p>
            <a:pPr eaLnBrk="1" hangingPunct="1">
              <a:lnSpc>
                <a:spcPct val="90000"/>
              </a:lnSpc>
              <a:buFont typeface="Wingdings" panose="05000000000000000000" pitchFamily="2" charset="2"/>
              <a:buChar char="v"/>
            </a:pPr>
            <a:r>
              <a:rPr lang="en-US" altLang="en-US" sz="1800" dirty="0"/>
              <a:t>Select a subset of the users (</a:t>
            </a:r>
            <a:r>
              <a:rPr lang="en-US" altLang="en-US" sz="1800" i="1" dirty="0"/>
              <a:t>neighbors</a:t>
            </a:r>
            <a:r>
              <a:rPr lang="en-US" altLang="en-US" sz="1800" dirty="0"/>
              <a:t>) to use as predictors.</a:t>
            </a:r>
          </a:p>
          <a:p>
            <a:pPr eaLnBrk="1" hangingPunct="1">
              <a:lnSpc>
                <a:spcPct val="90000"/>
              </a:lnSpc>
              <a:buFont typeface="Wingdings" panose="05000000000000000000" pitchFamily="2" charset="2"/>
              <a:buChar char="v"/>
            </a:pPr>
            <a:r>
              <a:rPr lang="en-US" altLang="en-US" sz="1800" dirty="0"/>
              <a:t>Normalize ratings and compute a prediction from a weighted combination of the selected neighbors’ ratings.</a:t>
            </a:r>
          </a:p>
          <a:p>
            <a:pPr eaLnBrk="1" hangingPunct="1">
              <a:lnSpc>
                <a:spcPct val="90000"/>
              </a:lnSpc>
              <a:buFont typeface="Wingdings" panose="05000000000000000000" pitchFamily="2" charset="2"/>
              <a:buChar char="v"/>
            </a:pPr>
            <a:r>
              <a:rPr lang="en-US" altLang="en-US" sz="1800" dirty="0"/>
              <a:t>Present items with highest predicted ratings as recommendations.</a:t>
            </a:r>
          </a:p>
        </p:txBody>
      </p:sp>
      <p:sp>
        <p:nvSpPr>
          <p:cNvPr id="29698" name="Slide Number Placeholder 4">
            <a:extLst>
              <a:ext uri="{FF2B5EF4-FFF2-40B4-BE49-F238E27FC236}">
                <a16:creationId xmlns:a16="http://schemas.microsoft.com/office/drawing/2014/main" id="{BAFCA51C-3A34-B808-7745-760F56E22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632FB74F-259B-4CBD-B2E9-C1D06A24B617}" type="slidenum">
              <a:rPr lang="en-US" altLang="en-US" sz="1200">
                <a:latin typeface="Helvetica" panose="020B0604020202020204" pitchFamily="34" charset="0"/>
              </a:rPr>
              <a:pPr eaLnBrk="1" hangingPunct="1"/>
              <a:t>16</a:t>
            </a:fld>
            <a:endParaRPr lang="en-US" altLang="en-US" sz="120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>
            <a:extLst>
              <a:ext uri="{FF2B5EF4-FFF2-40B4-BE49-F238E27FC236}">
                <a16:creationId xmlns:a16="http://schemas.microsoft.com/office/drawing/2014/main" id="{8872DED1-D139-DAF0-54CC-3DC240C32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022" y="2328007"/>
            <a:ext cx="6078639" cy="3892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C42F1EC-FCBA-24A5-287B-D2C7B2D4EF8A}"/>
              </a:ext>
            </a:extLst>
          </p:cNvPr>
          <p:cNvSpPr txBox="1"/>
          <p:nvPr/>
        </p:nvSpPr>
        <p:spPr>
          <a:xfrm>
            <a:off x="1120140" y="1430820"/>
            <a:ext cx="78160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spcBef>
                <a:spcPct val="0"/>
              </a:spcBef>
              <a:buClrTx/>
              <a:buSzTx/>
            </a:pPr>
            <a:r>
              <a:rPr lang="en-US" sz="1800" dirty="0"/>
              <a:t>Collaborative Filtering Rating Matrix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2577A3-2B7A-58FB-3228-330946B464A4}"/>
              </a:ext>
            </a:extLst>
          </p:cNvPr>
          <p:cNvSpPr txBox="1"/>
          <p:nvPr/>
        </p:nvSpPr>
        <p:spPr>
          <a:xfrm>
            <a:off x="1203267" y="1800152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dirty="0"/>
              <a:t>Example of Rating Matrix : </a:t>
            </a:r>
          </a:p>
        </p:txBody>
      </p:sp>
    </p:spTree>
    <p:extLst>
      <p:ext uri="{BB962C8B-B14F-4D97-AF65-F5344CB8AC3E}">
        <p14:creationId xmlns:p14="http://schemas.microsoft.com/office/powerpoint/2010/main" val="3007513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>
            <a:extLst>
              <a:ext uri="{FF2B5EF4-FFF2-40B4-BE49-F238E27FC236}">
                <a16:creationId xmlns:a16="http://schemas.microsoft.com/office/drawing/2014/main" id="{230EB13D-0D83-10D5-6ECF-E553BFB7F21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latin typeface="+mn-lt"/>
              </a:rPr>
              <a:t>Similarity Weighting</a:t>
            </a:r>
          </a:p>
        </p:txBody>
      </p:sp>
      <p:sp>
        <p:nvSpPr>
          <p:cNvPr id="1029" name="Rectangle 3">
            <a:extLst>
              <a:ext uri="{FF2B5EF4-FFF2-40B4-BE49-F238E27FC236}">
                <a16:creationId xmlns:a16="http://schemas.microsoft.com/office/drawing/2014/main" id="{4991995B-4A90-89D5-1EA1-8DCDD30150FC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484852" y="1771897"/>
            <a:ext cx="8229600" cy="4687888"/>
          </a:xfrm>
        </p:spPr>
        <p:txBody>
          <a:bodyPr/>
          <a:lstStyle/>
          <a:p>
            <a:pPr eaLnBrk="1" hangingPunct="1"/>
            <a:r>
              <a:rPr lang="en-US" altLang="en-US" sz="1800" dirty="0"/>
              <a:t>Typically use Pearson correlation coefficient between ratings for active user, </a:t>
            </a:r>
            <a:r>
              <a:rPr lang="en-US" altLang="en-US" sz="1800" i="1" dirty="0"/>
              <a:t>a</a:t>
            </a:r>
            <a:r>
              <a:rPr lang="en-US" altLang="en-US" sz="1800" dirty="0"/>
              <a:t>, and another user, </a:t>
            </a:r>
            <a:r>
              <a:rPr lang="en-US" altLang="en-US" sz="1800" i="1" dirty="0"/>
              <a:t>u</a:t>
            </a:r>
            <a:r>
              <a:rPr lang="en-US" altLang="en-US" sz="1800" dirty="0"/>
              <a:t>.</a:t>
            </a:r>
          </a:p>
          <a:p>
            <a:pPr eaLnBrk="1" hangingPunct="1"/>
            <a:endParaRPr lang="en-US" altLang="en-US" dirty="0"/>
          </a:p>
          <a:p>
            <a:pPr eaLnBrk="1" hangingPunct="1"/>
            <a:endParaRPr lang="en-US" altLang="en-US" dirty="0"/>
          </a:p>
          <a:p>
            <a:pPr eaLnBrk="1" hangingPunct="1"/>
            <a:endParaRPr lang="en-US" altLang="en-US" dirty="0"/>
          </a:p>
        </p:txBody>
      </p:sp>
      <p:sp>
        <p:nvSpPr>
          <p:cNvPr id="1027" name="Slide Number Placeholder 4">
            <a:extLst>
              <a:ext uri="{FF2B5EF4-FFF2-40B4-BE49-F238E27FC236}">
                <a16:creationId xmlns:a16="http://schemas.microsoft.com/office/drawing/2014/main" id="{0C8EED04-66F3-32D2-093E-8292932A4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2A9D0E7A-B753-4236-859E-6AA3DE1B3411}" type="slidenum">
              <a:rPr lang="en-US" altLang="en-US" sz="1200">
                <a:latin typeface="Helvetica" panose="020B0604020202020204" pitchFamily="34" charset="0"/>
              </a:rPr>
              <a:pPr eaLnBrk="1" hangingPunct="1"/>
              <a:t>18</a:t>
            </a:fld>
            <a:endParaRPr lang="en-US" altLang="en-US" sz="1200"/>
          </a:p>
        </p:txBody>
      </p:sp>
      <p:graphicFrame>
        <p:nvGraphicFramePr>
          <p:cNvPr id="1026" name="Object 4">
            <a:extLst>
              <a:ext uri="{FF2B5EF4-FFF2-40B4-BE49-F238E27FC236}">
                <a16:creationId xmlns:a16="http://schemas.microsoft.com/office/drawing/2014/main" id="{44E7A48B-EA31-10F1-CBA2-11FE56542E3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375150" y="2438400"/>
          <a:ext cx="2908300" cy="1147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155600" imgH="457200" progId="Equation.3">
                  <p:embed/>
                </p:oleObj>
              </mc:Choice>
              <mc:Fallback>
                <p:oleObj name="Equation" r:id="rId2" imgW="1155600" imgH="457200" progId="Equation.3">
                  <p:embed/>
                  <p:pic>
                    <p:nvPicPr>
                      <p:cNvPr id="1026" name="Object 4">
                        <a:extLst>
                          <a:ext uri="{FF2B5EF4-FFF2-40B4-BE49-F238E27FC236}">
                            <a16:creationId xmlns:a16="http://schemas.microsoft.com/office/drawing/2014/main" id="{44E7A48B-EA31-10F1-CBA2-11FE56542E3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75150" y="2438400"/>
                        <a:ext cx="2908300" cy="1147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ext Box 5">
            <a:extLst>
              <a:ext uri="{FF2B5EF4-FFF2-40B4-BE49-F238E27FC236}">
                <a16:creationId xmlns:a16="http://schemas.microsoft.com/office/drawing/2014/main" id="{3889DCE8-2FB1-1312-9A58-CA8A6AE4CE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0800" y="3657600"/>
            <a:ext cx="5486736" cy="12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/>
            <a:r>
              <a:rPr lang="en-US" altLang="en-US" sz="1800" i="1" dirty="0" err="1">
                <a:latin typeface="+mn-lt"/>
              </a:rPr>
              <a:t>r</a:t>
            </a:r>
            <a:r>
              <a:rPr lang="en-US" altLang="en-US" sz="1800" i="1" baseline="-25000" dirty="0" err="1">
                <a:latin typeface="+mn-lt"/>
              </a:rPr>
              <a:t>a</a:t>
            </a:r>
            <a:r>
              <a:rPr lang="en-US" altLang="en-US" sz="1800" i="1" baseline="-25000" dirty="0">
                <a:latin typeface="+mn-lt"/>
              </a:rPr>
              <a:t>  </a:t>
            </a:r>
            <a:r>
              <a:rPr lang="en-US" altLang="en-US" sz="1800" dirty="0">
                <a:latin typeface="+mn-lt"/>
              </a:rPr>
              <a:t>and </a:t>
            </a:r>
            <a:r>
              <a:rPr lang="en-US" altLang="en-US" sz="1800" i="1" dirty="0" err="1">
                <a:latin typeface="+mn-lt"/>
              </a:rPr>
              <a:t>r</a:t>
            </a:r>
            <a:r>
              <a:rPr lang="en-US" altLang="en-US" sz="1800" i="1" baseline="-25000" dirty="0" err="1">
                <a:latin typeface="+mn-lt"/>
              </a:rPr>
              <a:t>u</a:t>
            </a:r>
            <a:r>
              <a:rPr lang="en-US" altLang="en-US" sz="1800" dirty="0">
                <a:latin typeface="+mn-lt"/>
              </a:rPr>
              <a:t> are the ratings vectors for the </a:t>
            </a:r>
            <a:r>
              <a:rPr lang="en-US" altLang="en-US" sz="1800" i="1" dirty="0">
                <a:latin typeface="+mn-lt"/>
              </a:rPr>
              <a:t>m</a:t>
            </a:r>
            <a:r>
              <a:rPr lang="en-US" altLang="en-US" sz="1800" dirty="0">
                <a:latin typeface="+mn-lt"/>
              </a:rPr>
              <a:t> items rated by </a:t>
            </a:r>
          </a:p>
          <a:p>
            <a:pPr algn="l" eaLnBrk="1" hangingPunct="1"/>
            <a:r>
              <a:rPr lang="en-US" altLang="en-US" sz="1800" dirty="0">
                <a:latin typeface="+mn-lt"/>
              </a:rPr>
              <a:t>       </a:t>
            </a:r>
            <a:r>
              <a:rPr lang="en-US" altLang="en-US" sz="1800" b="1" dirty="0">
                <a:latin typeface="+mn-lt"/>
              </a:rPr>
              <a:t>both</a:t>
            </a:r>
            <a:r>
              <a:rPr lang="en-US" altLang="en-US" sz="1800" dirty="0">
                <a:latin typeface="+mn-lt"/>
              </a:rPr>
              <a:t> </a:t>
            </a:r>
            <a:r>
              <a:rPr lang="en-US" altLang="en-US" sz="1800" i="1" dirty="0">
                <a:latin typeface="+mn-lt"/>
              </a:rPr>
              <a:t>a</a:t>
            </a:r>
            <a:r>
              <a:rPr lang="en-US" altLang="en-US" sz="1800" dirty="0">
                <a:latin typeface="+mn-lt"/>
              </a:rPr>
              <a:t> and </a:t>
            </a:r>
            <a:r>
              <a:rPr lang="en-US" altLang="en-US" sz="1800" i="1" dirty="0">
                <a:latin typeface="+mn-lt"/>
              </a:rPr>
              <a:t>u</a:t>
            </a:r>
            <a:r>
              <a:rPr lang="en-US" altLang="en-US" sz="1800" dirty="0">
                <a:latin typeface="+mn-lt"/>
              </a:rPr>
              <a:t> </a:t>
            </a:r>
          </a:p>
          <a:p>
            <a:pPr algn="l" eaLnBrk="1" hangingPunct="1"/>
            <a:endParaRPr lang="en-US" altLang="en-US" sz="1800" dirty="0">
              <a:latin typeface="+mn-lt"/>
            </a:endParaRPr>
          </a:p>
          <a:p>
            <a:pPr algn="l" eaLnBrk="1" hangingPunct="1"/>
            <a:r>
              <a:rPr lang="en-US" altLang="en-US" sz="1800" i="1" dirty="0" err="1">
                <a:latin typeface="+mn-lt"/>
              </a:rPr>
              <a:t>r</a:t>
            </a:r>
            <a:r>
              <a:rPr lang="en-US" altLang="en-US" sz="1800" i="1" baseline="-25000" dirty="0" err="1">
                <a:latin typeface="+mn-lt"/>
              </a:rPr>
              <a:t>i,j</a:t>
            </a:r>
            <a:r>
              <a:rPr lang="en-US" altLang="en-US" sz="1800" dirty="0">
                <a:latin typeface="+mn-lt"/>
              </a:rPr>
              <a:t> is user </a:t>
            </a:r>
            <a:r>
              <a:rPr lang="en-US" altLang="en-US" sz="1800" i="1" dirty="0">
                <a:latin typeface="+mn-lt"/>
              </a:rPr>
              <a:t>i</a:t>
            </a:r>
            <a:r>
              <a:rPr lang="en-US" altLang="en-US" sz="1800" dirty="0">
                <a:latin typeface="+mn-lt"/>
              </a:rPr>
              <a:t>’s rating for item </a:t>
            </a:r>
            <a:r>
              <a:rPr lang="en-US" altLang="en-US" sz="1800" i="1" dirty="0">
                <a:latin typeface="+mn-lt"/>
              </a:rPr>
              <a:t>j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Rectangle 2">
            <a:extLst>
              <a:ext uri="{FF2B5EF4-FFF2-40B4-BE49-F238E27FC236}">
                <a16:creationId xmlns:a16="http://schemas.microsoft.com/office/drawing/2014/main" id="{F39FE7C8-9863-5B13-FB83-0DD99B98855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latin typeface="+mn-lt"/>
              </a:rPr>
              <a:t>Covariance and Standard Deviation</a:t>
            </a:r>
          </a:p>
        </p:txBody>
      </p:sp>
      <p:sp>
        <p:nvSpPr>
          <p:cNvPr id="2055" name="Rectangle 3">
            <a:extLst>
              <a:ext uri="{FF2B5EF4-FFF2-40B4-BE49-F238E27FC236}">
                <a16:creationId xmlns:a16="http://schemas.microsoft.com/office/drawing/2014/main" id="{3041ACF8-E4D6-93F3-F375-0F342C7A0CDF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1800" dirty="0"/>
              <a:t>Covariance:</a:t>
            </a:r>
          </a:p>
          <a:p>
            <a:pPr eaLnBrk="1" hangingPunct="1"/>
            <a:endParaRPr lang="en-US" altLang="en-US" dirty="0"/>
          </a:p>
          <a:p>
            <a:pPr eaLnBrk="1" hangingPunct="1"/>
            <a:endParaRPr lang="en-US" altLang="en-US" dirty="0"/>
          </a:p>
          <a:p>
            <a:pPr eaLnBrk="1" hangingPunct="1"/>
            <a:endParaRPr lang="en-US" altLang="en-US" dirty="0"/>
          </a:p>
          <a:p>
            <a:pPr eaLnBrk="1" hangingPunct="1"/>
            <a:endParaRPr lang="en-US" altLang="en-US" dirty="0"/>
          </a:p>
          <a:p>
            <a:pPr eaLnBrk="1" hangingPunct="1"/>
            <a:r>
              <a:rPr lang="en-US" altLang="en-US" sz="1800" dirty="0"/>
              <a:t>Standard Deviation:</a:t>
            </a:r>
          </a:p>
        </p:txBody>
      </p:sp>
      <p:sp>
        <p:nvSpPr>
          <p:cNvPr id="2053" name="Slide Number Placeholder 4">
            <a:extLst>
              <a:ext uri="{FF2B5EF4-FFF2-40B4-BE49-F238E27FC236}">
                <a16:creationId xmlns:a16="http://schemas.microsoft.com/office/drawing/2014/main" id="{75FA152F-9859-8D6D-3225-51EF914D2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DCE9823F-5276-4477-A17F-64430B4E2F6B}" type="slidenum">
              <a:rPr lang="en-US" altLang="en-US" sz="1200">
                <a:latin typeface="Helvetica" panose="020B0604020202020204" pitchFamily="34" charset="0"/>
              </a:rPr>
              <a:pPr eaLnBrk="1" hangingPunct="1"/>
              <a:t>19</a:t>
            </a:fld>
            <a:endParaRPr lang="en-US" altLang="en-US" sz="1200"/>
          </a:p>
        </p:txBody>
      </p:sp>
      <p:graphicFrame>
        <p:nvGraphicFramePr>
          <p:cNvPr id="2050" name="Object 4">
            <a:extLst>
              <a:ext uri="{FF2B5EF4-FFF2-40B4-BE49-F238E27FC236}">
                <a16:creationId xmlns:a16="http://schemas.microsoft.com/office/drawing/2014/main" id="{F45C76A3-33E5-2824-2D79-A787E1B955E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581400" y="1676400"/>
          <a:ext cx="4114800" cy="1162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2158920" imgH="609480" progId="Equation.3">
                  <p:embed/>
                </p:oleObj>
              </mc:Choice>
              <mc:Fallback>
                <p:oleObj name="Equation" r:id="rId2" imgW="2158920" imgH="609480" progId="Equation.3">
                  <p:embed/>
                  <p:pic>
                    <p:nvPicPr>
                      <p:cNvPr id="2050" name="Object 4">
                        <a:extLst>
                          <a:ext uri="{FF2B5EF4-FFF2-40B4-BE49-F238E27FC236}">
                            <a16:creationId xmlns:a16="http://schemas.microsoft.com/office/drawing/2014/main" id="{F45C76A3-33E5-2824-2D79-A787E1B955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81400" y="1676400"/>
                        <a:ext cx="4114800" cy="1162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51" name="Object 6">
            <a:extLst>
              <a:ext uri="{FF2B5EF4-FFF2-40B4-BE49-F238E27FC236}">
                <a16:creationId xmlns:a16="http://schemas.microsoft.com/office/drawing/2014/main" id="{C11057BB-9734-1867-B3AD-6370B2743EB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724400" y="2895600"/>
          <a:ext cx="1257300" cy="111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685800" imgH="609480" progId="Equation.3">
                  <p:embed/>
                </p:oleObj>
              </mc:Choice>
              <mc:Fallback>
                <p:oleObj name="Equation" r:id="rId4" imgW="685800" imgH="609480" progId="Equation.3">
                  <p:embed/>
                  <p:pic>
                    <p:nvPicPr>
                      <p:cNvPr id="2051" name="Object 6">
                        <a:extLst>
                          <a:ext uri="{FF2B5EF4-FFF2-40B4-BE49-F238E27FC236}">
                            <a16:creationId xmlns:a16="http://schemas.microsoft.com/office/drawing/2014/main" id="{C11057BB-9734-1867-B3AD-6370B2743E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4400" y="2895600"/>
                        <a:ext cx="1257300" cy="1117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52" name="Object 7">
            <a:extLst>
              <a:ext uri="{FF2B5EF4-FFF2-40B4-BE49-F238E27FC236}">
                <a16:creationId xmlns:a16="http://schemas.microsoft.com/office/drawing/2014/main" id="{83FA8C3C-E503-327E-A0F2-9777C31341D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14800" y="4953001"/>
          <a:ext cx="2438400" cy="1243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295280" imgH="660240" progId="Equation.3">
                  <p:embed/>
                </p:oleObj>
              </mc:Choice>
              <mc:Fallback>
                <p:oleObj name="Equation" r:id="rId6" imgW="1295280" imgH="660240" progId="Equation.3">
                  <p:embed/>
                  <p:pic>
                    <p:nvPicPr>
                      <p:cNvPr id="2052" name="Object 7">
                        <a:extLst>
                          <a:ext uri="{FF2B5EF4-FFF2-40B4-BE49-F238E27FC236}">
                            <a16:creationId xmlns:a16="http://schemas.microsoft.com/office/drawing/2014/main" id="{83FA8C3C-E503-327E-A0F2-9777C31341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4800" y="4953001"/>
                        <a:ext cx="2438400" cy="1243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7;p15">
            <a:extLst>
              <a:ext uri="{FF2B5EF4-FFF2-40B4-BE49-F238E27FC236}">
                <a16:creationId xmlns:a16="http://schemas.microsoft.com/office/drawing/2014/main" id="{445E2950-C623-8D14-443F-5556151EF9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67480" y="893298"/>
            <a:ext cx="8520600" cy="70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laysia AI</a:t>
            </a:r>
            <a:endParaRPr dirty="0"/>
          </a:p>
        </p:txBody>
      </p:sp>
      <p:sp>
        <p:nvSpPr>
          <p:cNvPr id="5" name="Google Shape;78;p15">
            <a:extLst>
              <a:ext uri="{FF2B5EF4-FFF2-40B4-BE49-F238E27FC236}">
                <a16:creationId xmlns:a16="http://schemas.microsoft.com/office/drawing/2014/main" id="{01D07E0C-6DBB-79A3-CE79-2F7280A49F3B}"/>
              </a:ext>
            </a:extLst>
          </p:cNvPr>
          <p:cNvSpPr txBox="1">
            <a:spLocks/>
          </p:cNvSpPr>
          <p:nvPr/>
        </p:nvSpPr>
        <p:spPr>
          <a:xfrm>
            <a:off x="1272753" y="2208716"/>
            <a:ext cx="8520600" cy="330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2900">
              <a:spcBef>
                <a:spcPts val="0"/>
              </a:spcBef>
              <a:spcAft>
                <a:spcPts val="0"/>
              </a:spcAft>
              <a:buSzPts val="1800"/>
              <a:buFont typeface="Calibri" panose="020F0502020204030204" pitchFamily="34" charset="0"/>
              <a:buChar char="-"/>
            </a:pPr>
            <a:r>
              <a:rPr lang="en-MY" dirty="0"/>
              <a:t>Malaysia AI Projects, a repository to gather projects related to Malaysia from multiple domain such as Tabular, Image, Text and Audio.</a:t>
            </a:r>
          </a:p>
          <a:p>
            <a:pPr marL="457200" indent="-342900">
              <a:spcBef>
                <a:spcPts val="0"/>
              </a:spcBef>
              <a:spcAft>
                <a:spcPts val="0"/>
              </a:spcAft>
              <a:buSzPts val="1800"/>
              <a:buFont typeface="Calibri" panose="020F0502020204030204" pitchFamily="34" charset="0"/>
              <a:buChar char="-"/>
            </a:pPr>
            <a:r>
              <a:rPr lang="en-MY" dirty="0"/>
              <a:t>Run by </a:t>
            </a:r>
            <a:r>
              <a:rPr lang="en-MY" dirty="0" err="1"/>
              <a:t>Husein</a:t>
            </a:r>
            <a:r>
              <a:rPr lang="en-MY" dirty="0"/>
              <a:t> </a:t>
            </a:r>
            <a:r>
              <a:rPr lang="en-MY" dirty="0" err="1"/>
              <a:t>Zolkepli</a:t>
            </a:r>
            <a:r>
              <a:rPr lang="en-MY" dirty="0"/>
              <a:t> &amp; </a:t>
            </a:r>
            <a:r>
              <a:rPr lang="en-MY" dirty="0" err="1"/>
              <a:t>Khursani</a:t>
            </a:r>
            <a:r>
              <a:rPr lang="en-MY" dirty="0"/>
              <a:t> </a:t>
            </a:r>
          </a:p>
          <a:p>
            <a:pPr marL="457200" indent="-342900">
              <a:spcBef>
                <a:spcPts val="0"/>
              </a:spcBef>
              <a:spcAft>
                <a:spcPts val="0"/>
              </a:spcAft>
              <a:buSzPts val="1800"/>
              <a:buFont typeface="Calibri" panose="020F0502020204030204" pitchFamily="34" charset="0"/>
              <a:buChar char="-"/>
            </a:pPr>
            <a:r>
              <a:rPr lang="en-MY" u="sng" dirty="0">
                <a:solidFill>
                  <a:schemeClr val="hlink"/>
                </a:solidFill>
                <a:hlinkClick r:id="rId2"/>
              </a:rPr>
              <a:t>Malaysia Artificial Intelligence · GitHub</a:t>
            </a:r>
            <a:r>
              <a:rPr lang="en-MY" dirty="0"/>
              <a:t> </a:t>
            </a:r>
          </a:p>
          <a:p>
            <a:pPr marL="457200" indent="-342900">
              <a:spcBef>
                <a:spcPts val="0"/>
              </a:spcBef>
              <a:spcAft>
                <a:spcPts val="0"/>
              </a:spcAft>
              <a:buSzPts val="1800"/>
              <a:buFont typeface="Calibri" panose="020F0502020204030204" pitchFamily="34" charset="0"/>
              <a:buChar char="-"/>
            </a:pPr>
            <a:r>
              <a:rPr lang="en-MY" u="sng" dirty="0">
                <a:solidFill>
                  <a:schemeClr val="hlink"/>
                </a:solidFill>
                <a:hlinkClick r:id="rId3"/>
              </a:rPr>
              <a:t>https://malaysia-ai-projects.readthedocs.io/en/latest/</a:t>
            </a:r>
            <a:r>
              <a:rPr lang="en-MY" dirty="0"/>
              <a:t> </a:t>
            </a:r>
          </a:p>
        </p:txBody>
      </p:sp>
      <p:pic>
        <p:nvPicPr>
          <p:cNvPr id="6" name="Google Shape;79;p15">
            <a:extLst>
              <a:ext uri="{FF2B5EF4-FFF2-40B4-BE49-F238E27FC236}">
                <a16:creationId xmlns:a16="http://schemas.microsoft.com/office/drawing/2014/main" id="{E6860B9D-3EB3-9603-8DB4-EC66E9FCDC82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104421" y="405924"/>
            <a:ext cx="2020099" cy="11947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19766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2">
            <a:extLst>
              <a:ext uri="{FF2B5EF4-FFF2-40B4-BE49-F238E27FC236}">
                <a16:creationId xmlns:a16="http://schemas.microsoft.com/office/drawing/2014/main" id="{FC55A26F-AA49-A295-3117-21FDA870B12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latin typeface="+mn-lt"/>
              </a:rPr>
              <a:t>Problems with Collaborative Filtering</a:t>
            </a:r>
          </a:p>
        </p:txBody>
      </p:sp>
      <p:sp>
        <p:nvSpPr>
          <p:cNvPr id="31748" name="Rectangle 3">
            <a:extLst>
              <a:ext uri="{FF2B5EF4-FFF2-40B4-BE49-F238E27FC236}">
                <a16:creationId xmlns:a16="http://schemas.microsoft.com/office/drawing/2014/main" id="{BC5DFC14-73F1-7615-FE96-4D92D9D1451C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97280" y="2086892"/>
            <a:ext cx="10058400" cy="4023360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en-US" sz="1800" b="1" dirty="0">
                <a:solidFill>
                  <a:srgbClr val="FF0000"/>
                </a:solidFill>
              </a:rPr>
              <a:t>Cold Start</a:t>
            </a:r>
            <a:r>
              <a:rPr lang="en-US" altLang="en-US" sz="1800" dirty="0"/>
              <a:t>: There needs to be enough other users already in the system to find a match.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b="1" dirty="0">
                <a:solidFill>
                  <a:srgbClr val="FF0000"/>
                </a:solidFill>
              </a:rPr>
              <a:t>Sparsity</a:t>
            </a:r>
            <a:r>
              <a:rPr lang="en-US" altLang="en-US" sz="1800" dirty="0"/>
              <a:t>: If there are many items to be recommended, even if there are many users, the user/ratings matrix is sparse, and it is hard to find users that have rated the same items.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b="1" dirty="0">
                <a:solidFill>
                  <a:srgbClr val="FF0000"/>
                </a:solidFill>
              </a:rPr>
              <a:t>First Rater</a:t>
            </a:r>
            <a:r>
              <a:rPr lang="en-US" altLang="en-US" sz="1800" dirty="0"/>
              <a:t>: Cannot recommend an item that has not been previously rated.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New item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Esoteric item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1800" b="1" dirty="0">
                <a:solidFill>
                  <a:srgbClr val="FF0000"/>
                </a:solidFill>
              </a:rPr>
              <a:t>Popularity Bias</a:t>
            </a:r>
            <a:r>
              <a:rPr lang="en-US" altLang="en-US" sz="1800" dirty="0"/>
              <a:t>: Cannot recommend items to someone with unique tastes.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 Tends to recommend popular items.</a:t>
            </a:r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</p:txBody>
      </p:sp>
      <p:sp>
        <p:nvSpPr>
          <p:cNvPr id="31746" name="Slide Number Placeholder 4">
            <a:extLst>
              <a:ext uri="{FF2B5EF4-FFF2-40B4-BE49-F238E27FC236}">
                <a16:creationId xmlns:a16="http://schemas.microsoft.com/office/drawing/2014/main" id="{33F74848-1C91-455B-4D72-36C586313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fld id="{6A35B3BC-5E27-40A1-ACFA-175B05CB313C}" type="slidenum">
              <a:rPr lang="en-US" altLang="en-US" sz="1200" smtClean="0">
                <a:latin typeface="Helvetica" panose="020B0604020202020204" pitchFamily="34" charset="0"/>
              </a:rPr>
              <a:pPr eaLnBrk="1" hangingPunct="1"/>
              <a:t>20</a:t>
            </a:fld>
            <a:endParaRPr lang="en-US" altLang="en-US" sz="12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2CCAD339-C982-0721-4263-C1C6DF7C28D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 sz="1800" dirty="0">
                <a:latin typeface="+mn-lt"/>
              </a:rPr>
              <a:t>References 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8B56F8D1-F6D4-2D16-E094-D3FFB366159B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97280" y="2086892"/>
            <a:ext cx="10058400" cy="4023360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2"/>
              </a:rPr>
              <a:t>https://towardsdatascience.com/recommendation-system-matrix-factorization-d61978660b4b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3"/>
              </a:rPr>
              <a:t>https://www.kaggle.com/code/colinmorris/matrix-factorization/notebook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4"/>
              </a:rPr>
              <a:t>https://www.sciencedirect.com/science/article/pii/S1110866515000341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5"/>
              </a:rPr>
              <a:t>https://www.analyticssteps.com/blogs/what-are-recommendation-systems-machine-learning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6"/>
              </a:rPr>
              <a:t>https://realpython.com/build-recommendation-engine-collaborative-filtering/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7"/>
              </a:rPr>
              <a:t>https://www.iteratorshq.com/blog/collaborative-filtering-in-recommender-systems/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8"/>
              </a:rPr>
              <a:t>https://developers.google.com/machine-learning/recommendation/collaborative/basics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r>
              <a:rPr lang="en-US" altLang="en-US" sz="1800" dirty="0">
                <a:hlinkClick r:id="rId9"/>
              </a:rPr>
              <a:t>https://www.turing.com/kb/collaborative-filtering-in-recommender-system</a:t>
            </a:r>
            <a:endParaRPr lang="en-US" altLang="en-US" sz="1800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  <a:p>
            <a:pPr eaLnBrk="1" hangingPunct="1">
              <a:lnSpc>
                <a:spcPct val="90000"/>
              </a:lnSpc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4413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26">
            <a:extLst>
              <a:ext uri="{FF2B5EF4-FFF2-40B4-BE49-F238E27FC236}">
                <a16:creationId xmlns:a16="http://schemas.microsoft.com/office/drawing/2014/main" id="{2DAEDB52-8CCC-7D0F-F307-889E7A8545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2845" y="594518"/>
            <a:ext cx="319178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en-US" altLang="en-US" sz="2000" dirty="0">
                <a:solidFill>
                  <a:schemeClr val="tx1"/>
                </a:solidFill>
              </a:rPr>
              <a:t>Surendran</a:t>
            </a:r>
            <a:endParaRPr lang="en-US" altLang="en-US" dirty="0">
              <a:solidFill>
                <a:schemeClr val="tx1"/>
              </a:solidFill>
            </a:endParaRPr>
          </a:p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Senior Data Scientist (SLB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C4C753-698D-1765-E1C2-5B5B276474B0}"/>
              </a:ext>
            </a:extLst>
          </p:cNvPr>
          <p:cNvSpPr/>
          <p:nvPr/>
        </p:nvSpPr>
        <p:spPr>
          <a:xfrm>
            <a:off x="429242" y="2510295"/>
            <a:ext cx="47256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/>
              <a:t>An experienced Analytics Specialist with a demonstrated history of working in the industry and with variety domain exposure such as Biology, Telecommunication, Education and Oil &amp; Gas. Strong analytics practical skill with developed analytic models in predictions for few projects.</a:t>
            </a:r>
          </a:p>
          <a:p>
            <a:pPr algn="just"/>
            <a:endParaRPr lang="en-US" sz="1200" dirty="0"/>
          </a:p>
          <a:p>
            <a:pPr algn="just"/>
            <a:r>
              <a:rPr lang="en-US" sz="1200" dirty="0"/>
              <a:t>Skilled in Data Science Tools, Management, Python programming, and Algorithms. Equipped with strong knowledge in Machine Learning Algorithms. Strong Information Technology professional with a Master’s Degree focused on Machine Learning from Multimedia University.</a:t>
            </a:r>
            <a:endParaRPr lang="en-GB" altLang="en-US" sz="1200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97FFA1B8-828D-45F0-8467-A21E900CC4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7235" y="1503416"/>
            <a:ext cx="6435523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 </a:t>
            </a:r>
            <a:endParaRPr kumimoji="0" lang="en-GB" altLang="en-US" sz="12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Some of Surendran</a:t>
            </a:r>
            <a:r>
              <a:rPr lang="en-GB" altLang="en-US" sz="1200" dirty="0"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’s </a:t>
            </a:r>
            <a:r>
              <a:rPr kumimoji="0" lang="en-GB" altLang="en-US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SimSun" panose="02010600030101010101" pitchFamily="2" charset="-122"/>
                <a:cs typeface="Arial" panose="020B0604020202020204" pitchFamily="34" charset="0"/>
              </a:rPr>
              <a:t>relevant experiences include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altLang="en-US" sz="12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kumimoji="0" lang="en-GB" altLang="en-US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 Light" charset="0"/>
                <a:cs typeface="Calibri Light" charset="0"/>
              </a:rPr>
              <a:t>Lead and delivered</a:t>
            </a:r>
            <a:r>
              <a:rPr kumimoji="0" lang="en-GB" altLang="en-US" sz="120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 Light" charset="0"/>
                <a:cs typeface="Calibri Light" charset="0"/>
              </a:rPr>
              <a:t> multiple analytics projects that provide benefits to the organization's digitalization for an oil &amp; gas company</a:t>
            </a:r>
            <a:r>
              <a:rPr lang="en-GB" altLang="en-US" sz="1200" dirty="0">
                <a:latin typeface="+mn-lt"/>
                <a:ea typeface="Calibri Light" charset="0"/>
                <a:cs typeface="Calibri Light" charset="0"/>
              </a:rPr>
              <a:t>. </a:t>
            </a: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lang="en-GB" sz="1200" dirty="0">
                <a:latin typeface="+mn-lt"/>
                <a:ea typeface="Calibri Light" charset="0"/>
                <a:cs typeface="Calibri Light" charset="0"/>
              </a:rPr>
              <a:t>Delivered </a:t>
            </a:r>
            <a:r>
              <a:rPr lang="en-US" sz="1200" dirty="0">
                <a:latin typeface="+mn-lt"/>
                <a:ea typeface="Calibri Light" charset="0"/>
                <a:cs typeface="Calibri Light" charset="0"/>
              </a:rPr>
              <a:t>a novel machine learning model for a large Malaysia Telecommunication Company.</a:t>
            </a:r>
            <a:endParaRPr kumimoji="0" lang="en-US" altLang="en-US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n-lt"/>
              <a:ea typeface="Calibri Light" charset="0"/>
              <a:cs typeface="Calibri Light" charset="0"/>
            </a:endParaRP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lang="en-GB" sz="1200" dirty="0">
                <a:latin typeface="+mn-lt"/>
                <a:ea typeface="Calibri Light" charset="0"/>
                <a:cs typeface="Calibri Light" charset="0"/>
              </a:rPr>
              <a:t>Delivered a reinforcement model to personalized learning environment that able to predict the receptivity condition of audience cluster for a start-up company.</a:t>
            </a: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lang="en-GB" sz="1200" dirty="0">
                <a:latin typeface="+mn-lt"/>
                <a:ea typeface="Calibri Light" charset="0"/>
                <a:cs typeface="Calibri Light" charset="0"/>
              </a:rPr>
              <a:t>Delivered an image classification model that use satellite Image to predict the economic well-being in India for World Resources Institute.</a:t>
            </a: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lang="en-GB" sz="1200" dirty="0">
                <a:latin typeface="+mn-lt"/>
                <a:ea typeface="Calibri Light" charset="0"/>
                <a:cs typeface="Calibri Light" charset="0"/>
              </a:rPr>
              <a:t>Using various statistical methods to analyse the role of connectivity on economic &amp; human development with United Nation Development Plan .</a:t>
            </a:r>
          </a:p>
          <a:p>
            <a:pPr marL="285750" lvl="0" indent="-285750" defTabSz="914400">
              <a:buFont typeface="Wingdings" panose="05000000000000000000" pitchFamily="2" charset="2"/>
              <a:buChar char="ü"/>
            </a:pPr>
            <a:r>
              <a:rPr lang="en-US" sz="1200" dirty="0">
                <a:latin typeface="+mn-lt"/>
                <a:ea typeface="Calibri Light" charset="0"/>
                <a:cs typeface="Calibri Light" charset="0"/>
              </a:rPr>
              <a:t>Developed ML model for people with visual impairment to easily use buses through computer vision</a:t>
            </a:r>
            <a:endParaRPr lang="en-GB" sz="1200" dirty="0">
              <a:latin typeface="+mn-lt"/>
              <a:ea typeface="Calibri Light" charset="0"/>
              <a:cs typeface="Calibri Light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GB" sz="1200" dirty="0">
                <a:latin typeface="+mn-lt"/>
                <a:ea typeface="Calibri Light" charset="0"/>
                <a:cs typeface="Calibri Light" charset="0"/>
              </a:rPr>
              <a:t>Example clients:</a:t>
            </a: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600" dirty="0">
              <a:latin typeface="Calibri Light" charset="0"/>
              <a:ea typeface="Calibri Light" charset="0"/>
              <a:cs typeface="Calibri Light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128624A-1F49-2AE0-9B8F-30C599BAF90F}"/>
              </a:ext>
            </a:extLst>
          </p:cNvPr>
          <p:cNvGraphicFramePr>
            <a:graphicFrameLocks noGrp="1"/>
          </p:cNvGraphicFramePr>
          <p:nvPr/>
        </p:nvGraphicFramePr>
        <p:xfrm>
          <a:off x="5474824" y="5211676"/>
          <a:ext cx="6435523" cy="73152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677401">
                  <a:extLst>
                    <a:ext uri="{9D8B030D-6E8A-4147-A177-3AD203B41FA5}">
                      <a16:colId xmlns:a16="http://schemas.microsoft.com/office/drawing/2014/main" val="3101409596"/>
                    </a:ext>
                  </a:extLst>
                </a:gridCol>
                <a:gridCol w="5758122">
                  <a:extLst>
                    <a:ext uri="{9D8B030D-6E8A-4147-A177-3AD203B41FA5}">
                      <a16:colId xmlns:a16="http://schemas.microsoft.com/office/drawing/2014/main" val="3901886905"/>
                    </a:ext>
                  </a:extLst>
                </a:gridCol>
              </a:tblGrid>
              <a:tr h="175121"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MY" sz="1000" u="none" strike="noStrike" cap="none" dirty="0">
                          <a:sym typeface="Arial"/>
                        </a:rPr>
                        <a:t>Date</a:t>
                      </a:r>
                      <a:endParaRPr lang="en-MY" sz="1000" b="1" i="0" u="none" strike="noStrike" cap="none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000" dirty="0"/>
                        <a:t>Discipline / Univers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4922494"/>
                  </a:ext>
                </a:extLst>
              </a:tr>
              <a:tr h="229442">
                <a:tc>
                  <a:txBody>
                    <a:bodyPr/>
                    <a:lstStyle/>
                    <a:p>
                      <a:r>
                        <a:rPr lang="en-MY" sz="1000" dirty="0"/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000" dirty="0"/>
                        <a:t>Master of Science in Information Technology – Machine Learning, Multimedia Univers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267079"/>
                  </a:ext>
                </a:extLst>
              </a:tr>
              <a:tr h="229442">
                <a:tc>
                  <a:txBody>
                    <a:bodyPr/>
                    <a:lstStyle/>
                    <a:p>
                      <a:r>
                        <a:rPr lang="en-MY" sz="1000" dirty="0"/>
                        <a:t>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Bachelor’s Degree of Science (Hons) </a:t>
                      </a:r>
                      <a:r>
                        <a:rPr lang="en-MY" sz="1000" dirty="0"/>
                        <a:t>, Bioinformatics, Multimedia Univers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9758648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D44FC3D-4AF3-6E29-5E45-54A64584494F}"/>
              </a:ext>
            </a:extLst>
          </p:cNvPr>
          <p:cNvSpPr txBox="1"/>
          <p:nvPr/>
        </p:nvSpPr>
        <p:spPr>
          <a:xfrm>
            <a:off x="5474824" y="4916388"/>
            <a:ext cx="10869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EDUC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9FD2E5C-8B5D-CC33-5CEA-90A3B43E3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1976" y="4182781"/>
            <a:ext cx="583045" cy="58304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98650A-9728-01AF-7D31-87DE5D8957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3852" y="4361239"/>
            <a:ext cx="1089736" cy="26900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0C35C8A-378A-EED5-4947-1CB89DFA71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1407" y="4333554"/>
            <a:ext cx="702750" cy="34807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0EAD7BD-E5DD-8F74-1519-029E14DF1C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21407" y="4775807"/>
            <a:ext cx="830028" cy="28820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44823A8-7503-8987-9688-82E3176E1B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6651" y="4792928"/>
            <a:ext cx="1136505" cy="281197"/>
          </a:xfrm>
          <a:prstGeom prst="rect">
            <a:avLst/>
          </a:prstGeom>
        </p:spPr>
      </p:pic>
      <p:pic>
        <p:nvPicPr>
          <p:cNvPr id="20" name="Picture 19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25EF808C-E24A-F925-B8E7-59585BF4DC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41" y="180492"/>
            <a:ext cx="1443603" cy="1443603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86FC89E-8A15-F17C-D682-109C054D7E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28019" y="4630248"/>
            <a:ext cx="1553016" cy="38825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C2ECB784-B4CD-7114-8356-B0A3766EDC9A}"/>
              </a:ext>
            </a:extLst>
          </p:cNvPr>
          <p:cNvSpPr/>
          <p:nvPr/>
        </p:nvSpPr>
        <p:spPr>
          <a:xfrm>
            <a:off x="462638" y="4507589"/>
            <a:ext cx="47256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en-US" sz="1200" dirty="0" err="1"/>
              <a:t>Lindedin</a:t>
            </a:r>
            <a:r>
              <a:rPr lang="en-GB" altLang="en-US" sz="1200" dirty="0"/>
              <a:t> : https://www.linkedin.com/in/surendr/ </a:t>
            </a:r>
          </a:p>
          <a:p>
            <a:pPr algn="just"/>
            <a:r>
              <a:rPr lang="en-GB" altLang="en-US" sz="1200" dirty="0"/>
              <a:t>GitHub : </a:t>
            </a:r>
            <a:r>
              <a:rPr lang="en-MY" sz="1200" dirty="0" err="1">
                <a:hlinkClick r:id="rId9"/>
              </a:rPr>
              <a:t>Sureniology</a:t>
            </a:r>
            <a:r>
              <a:rPr lang="en-MY" sz="1200" dirty="0">
                <a:hlinkClick r:id="rId9"/>
              </a:rPr>
              <a:t> (Surendran Selvaraju) · GitHub</a:t>
            </a:r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569544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F9895-1620-0C0D-CA51-92B56A0AD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1280160"/>
            <a:ext cx="10058400" cy="457200"/>
          </a:xfrm>
        </p:spPr>
        <p:txBody>
          <a:bodyPr>
            <a:normAutofit/>
          </a:bodyPr>
          <a:lstStyle/>
          <a:p>
            <a:r>
              <a:rPr lang="en-MY" sz="1800" dirty="0">
                <a:solidFill>
                  <a:schemeClr val="tx1"/>
                </a:solidFill>
                <a:latin typeface="+mn-lt"/>
              </a:rPr>
              <a:t>The Impact of Recommender Syst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99955-2C77-BCE9-AA0C-247643A402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3782" y="2078181"/>
            <a:ext cx="10058400" cy="33919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rgbClr val="FF0000"/>
                </a:solidFill>
              </a:rPr>
              <a:t>35% </a:t>
            </a:r>
            <a:r>
              <a:rPr lang="en-US" sz="1800" dirty="0">
                <a:solidFill>
                  <a:schemeClr val="tx1"/>
                </a:solidFill>
              </a:rPr>
              <a:t>of the purchases on Amazon are the result of their recommender system, according to McKinsey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chemeClr val="tx1"/>
                </a:solidFill>
              </a:rPr>
              <a:t>During the Chinese global shopping festival of November 11, 2016, Alibaba achieved growth of up to </a:t>
            </a:r>
            <a:r>
              <a:rPr lang="en-US" sz="1800" dirty="0">
                <a:solidFill>
                  <a:srgbClr val="FF0000"/>
                </a:solidFill>
              </a:rPr>
              <a:t>20%</a:t>
            </a:r>
            <a:r>
              <a:rPr lang="en-US" sz="1800" dirty="0">
                <a:solidFill>
                  <a:schemeClr val="tx1"/>
                </a:solidFill>
              </a:rPr>
              <a:t> of their conversion rate using personalized landing pages, according to </a:t>
            </a:r>
            <a:r>
              <a:rPr lang="en-US" sz="1800" dirty="0" err="1">
                <a:solidFill>
                  <a:schemeClr val="tx1"/>
                </a:solidFill>
              </a:rPr>
              <a:t>Alizila</a:t>
            </a:r>
            <a:r>
              <a:rPr lang="en-US" sz="1800" dirty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chemeClr val="tx1"/>
                </a:solidFill>
              </a:rPr>
              <a:t>Recommendations are responsible for </a:t>
            </a:r>
            <a:r>
              <a:rPr lang="en-US" sz="1800" dirty="0">
                <a:solidFill>
                  <a:srgbClr val="FF0000"/>
                </a:solidFill>
              </a:rPr>
              <a:t>70% </a:t>
            </a:r>
            <a:r>
              <a:rPr lang="en-US" sz="1800" dirty="0">
                <a:solidFill>
                  <a:schemeClr val="tx1"/>
                </a:solidFill>
              </a:rPr>
              <a:t>of the time people spend watching videos on YouTube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1800" dirty="0">
                <a:solidFill>
                  <a:srgbClr val="FF0000"/>
                </a:solidFill>
              </a:rPr>
              <a:t>75% </a:t>
            </a:r>
            <a:r>
              <a:rPr lang="en-US" sz="1800" dirty="0">
                <a:solidFill>
                  <a:schemeClr val="tx1"/>
                </a:solidFill>
              </a:rPr>
              <a:t>of what people are watching on Netflix comes from recommendations, according to McKinsey</a:t>
            </a:r>
          </a:p>
          <a:p>
            <a:endParaRPr lang="en-MY" dirty="0"/>
          </a:p>
        </p:txBody>
      </p:sp>
      <p:pic>
        <p:nvPicPr>
          <p:cNvPr id="13314" name="Picture 2" descr="Using face-recognition algorithm to power recommendations in the logistics  business | by Anhtv | LOGIVAN | Medium">
            <a:extLst>
              <a:ext uri="{FF2B5EF4-FFF2-40B4-BE49-F238E27FC236}">
                <a16:creationId xmlns:a16="http://schemas.microsoft.com/office/drawing/2014/main" id="{7B57CE88-4D58-7E18-17F2-EAE3F8C9F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280" y="4152720"/>
            <a:ext cx="4166681" cy="1917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Amazon's recommendation algorithm drives 35% of its sales - Evdelo">
            <a:extLst>
              <a:ext uri="{FF2B5EF4-FFF2-40B4-BE49-F238E27FC236}">
                <a16:creationId xmlns:a16="http://schemas.microsoft.com/office/drawing/2014/main" id="{01E80C45-8091-688E-E321-914C53071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289" y="4162732"/>
            <a:ext cx="2980414" cy="2107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9769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Recommendation Engine Market Report, 2021-2028">
            <a:extLst>
              <a:ext uri="{FF2B5EF4-FFF2-40B4-BE49-F238E27FC236}">
                <a16:creationId xmlns:a16="http://schemas.microsoft.com/office/drawing/2014/main" id="{52E6D5F3-B3AC-49BB-6F33-2E88B89008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227" y="1924648"/>
            <a:ext cx="8183545" cy="42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08A4A45-0ACD-AAC3-3A70-47922FF3E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1280160"/>
            <a:ext cx="10058400" cy="457200"/>
          </a:xfrm>
        </p:spPr>
        <p:txBody>
          <a:bodyPr>
            <a:normAutofit/>
          </a:bodyPr>
          <a:lstStyle/>
          <a:p>
            <a:r>
              <a:rPr lang="en-MY" sz="1800" dirty="0">
                <a:solidFill>
                  <a:schemeClr val="tx1"/>
                </a:solidFill>
                <a:latin typeface="+mn-lt"/>
              </a:rPr>
              <a:t>Recommender System Overview</a:t>
            </a:r>
          </a:p>
        </p:txBody>
      </p:sp>
    </p:spTree>
    <p:extLst>
      <p:ext uri="{BB962C8B-B14F-4D97-AF65-F5344CB8AC3E}">
        <p14:creationId xmlns:p14="http://schemas.microsoft.com/office/powerpoint/2010/main" val="499080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Global Recommendation Engine Market 2020-2024 | 30% CAGR Projection Over the  Next Five Years | Technavio | Business Wire">
            <a:extLst>
              <a:ext uri="{FF2B5EF4-FFF2-40B4-BE49-F238E27FC236}">
                <a16:creationId xmlns:a16="http://schemas.microsoft.com/office/drawing/2014/main" id="{0E4FA7EA-F619-4E29-93AE-F2D2E0D99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874891"/>
            <a:ext cx="762000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FD80483-238C-16E0-1FC4-5E6169952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1280160"/>
            <a:ext cx="10058400" cy="457200"/>
          </a:xfrm>
        </p:spPr>
        <p:txBody>
          <a:bodyPr>
            <a:normAutofit/>
          </a:bodyPr>
          <a:lstStyle/>
          <a:p>
            <a:r>
              <a:rPr lang="en-MY" sz="1800" dirty="0">
                <a:solidFill>
                  <a:schemeClr val="tx1"/>
                </a:solidFill>
                <a:latin typeface="+mn-lt"/>
              </a:rPr>
              <a:t>Recommender System Overview</a:t>
            </a:r>
          </a:p>
        </p:txBody>
      </p:sp>
    </p:spTree>
    <p:extLst>
      <p:ext uri="{BB962C8B-B14F-4D97-AF65-F5344CB8AC3E}">
        <p14:creationId xmlns:p14="http://schemas.microsoft.com/office/powerpoint/2010/main" val="35305410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DFDBD3F-E958-8EBB-4E1B-B87A25225201}"/>
              </a:ext>
            </a:extLst>
          </p:cNvPr>
          <p:cNvSpPr txBox="1"/>
          <p:nvPr/>
        </p:nvSpPr>
        <p:spPr>
          <a:xfrm>
            <a:off x="1161704" y="1369814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spcBef>
                <a:spcPct val="0"/>
              </a:spcBef>
              <a:buClrTx/>
              <a:buSzTx/>
            </a:pPr>
            <a:r>
              <a:rPr lang="en-US" sz="1800" dirty="0"/>
              <a:t>Recommendation Models</a:t>
            </a:r>
          </a:p>
        </p:txBody>
      </p:sp>
      <p:grpSp>
        <p:nvGrpSpPr>
          <p:cNvPr id="8" name="Group 22">
            <a:extLst>
              <a:ext uri="{FF2B5EF4-FFF2-40B4-BE49-F238E27FC236}">
                <a16:creationId xmlns:a16="http://schemas.microsoft.com/office/drawing/2014/main" id="{1C61F511-E9E2-00FB-BD6B-05D3AC3B7128}"/>
              </a:ext>
            </a:extLst>
          </p:cNvPr>
          <p:cNvGrpSpPr>
            <a:grpSpLocks/>
          </p:cNvGrpSpPr>
          <p:nvPr/>
        </p:nvGrpSpPr>
        <p:grpSpPr bwMode="auto">
          <a:xfrm>
            <a:off x="3346843" y="1943548"/>
            <a:ext cx="5855345" cy="1672489"/>
            <a:chOff x="566738" y="3697288"/>
            <a:chExt cx="7759700" cy="2365375"/>
          </a:xfrm>
        </p:grpSpPr>
        <p:pic>
          <p:nvPicPr>
            <p:cNvPr id="9" name="Picture 23">
              <a:extLst>
                <a:ext uri="{FF2B5EF4-FFF2-40B4-BE49-F238E27FC236}">
                  <a16:creationId xmlns:a16="http://schemas.microsoft.com/office/drawing/2014/main" id="{AC1C8AE7-8508-FBB2-D4E7-3B161A23C1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66738" y="3979863"/>
              <a:ext cx="2471738" cy="124618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0" name="Picture 5">
              <a:extLst>
                <a:ext uri="{FF2B5EF4-FFF2-40B4-BE49-F238E27FC236}">
                  <a16:creationId xmlns:a16="http://schemas.microsoft.com/office/drawing/2014/main" id="{D46492F7-AB38-6797-4FA3-A9EE0E8988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3963" y="3836988"/>
              <a:ext cx="1528762" cy="954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6">
              <a:extLst>
                <a:ext uri="{FF2B5EF4-FFF2-40B4-BE49-F238E27FC236}">
                  <a16:creationId xmlns:a16="http://schemas.microsoft.com/office/drawing/2014/main" id="{D37A4F20-C8B5-9277-785F-8C02DB22EF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548188" y="3697288"/>
              <a:ext cx="2378075" cy="149066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10">
              <a:extLst>
                <a:ext uri="{FF2B5EF4-FFF2-40B4-BE49-F238E27FC236}">
                  <a16:creationId xmlns:a16="http://schemas.microsoft.com/office/drawing/2014/main" id="{8A710B8C-6CDA-1C0E-06F1-02FB626DB4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781176" y="3697288"/>
              <a:ext cx="2767012" cy="18383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3" name="Picture 9">
              <a:extLst>
                <a:ext uri="{FF2B5EF4-FFF2-40B4-BE49-F238E27FC236}">
                  <a16:creationId xmlns:a16="http://schemas.microsoft.com/office/drawing/2014/main" id="{69D71E76-260E-7578-BD4E-2146138C08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708276" y="5226051"/>
              <a:ext cx="1839912" cy="7651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4" name="Picture 11">
              <a:extLst>
                <a:ext uri="{FF2B5EF4-FFF2-40B4-BE49-F238E27FC236}">
                  <a16:creationId xmlns:a16="http://schemas.microsoft.com/office/drawing/2014/main" id="{59979955-6720-4EFE-69C9-D55CFB60E8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55688" y="4791076"/>
              <a:ext cx="1652588" cy="12287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5" name="Picture 4">
              <a:extLst>
                <a:ext uri="{FF2B5EF4-FFF2-40B4-BE49-F238E27FC236}">
                  <a16:creationId xmlns:a16="http://schemas.microsoft.com/office/drawing/2014/main" id="{3D164E51-BEE1-6B94-EE71-590EFA629D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8425" y="4376738"/>
              <a:ext cx="1670050" cy="1055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12">
              <a:extLst>
                <a:ext uri="{FF2B5EF4-FFF2-40B4-BE49-F238E27FC236}">
                  <a16:creationId xmlns:a16="http://schemas.microsoft.com/office/drawing/2014/main" id="{F4348E19-AC92-2142-D6D6-9B3834C68B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547905" y="5535455"/>
              <a:ext cx="1428170" cy="30748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7" name="Picture 14">
              <a:extLst>
                <a:ext uri="{FF2B5EF4-FFF2-40B4-BE49-F238E27FC236}">
                  <a16:creationId xmlns:a16="http://schemas.microsoft.com/office/drawing/2014/main" id="{717ECB72-56C2-25B8-B07F-C2BB9DE903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081713" y="4022726"/>
              <a:ext cx="1997075" cy="151288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8" name="Picture 8">
              <a:extLst>
                <a:ext uri="{FF2B5EF4-FFF2-40B4-BE49-F238E27FC236}">
                  <a16:creationId xmlns:a16="http://schemas.microsoft.com/office/drawing/2014/main" id="{20616C7E-979C-63A3-1BBF-049D1F2165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8188" y="5114925"/>
              <a:ext cx="3654425" cy="420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7">
              <a:extLst>
                <a:ext uri="{FF2B5EF4-FFF2-40B4-BE49-F238E27FC236}">
                  <a16:creationId xmlns:a16="http://schemas.microsoft.com/office/drawing/2014/main" id="{1A746A7E-60F4-55C5-4E14-DA4581198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5850" y="4791075"/>
              <a:ext cx="4576763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3">
              <a:extLst>
                <a:ext uri="{FF2B5EF4-FFF2-40B4-BE49-F238E27FC236}">
                  <a16:creationId xmlns:a16="http://schemas.microsoft.com/office/drawing/2014/main" id="{3BB0AE63-E1CF-5CFA-3A30-0458CFC5A8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0388" y="4478338"/>
              <a:ext cx="2562225" cy="312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18">
              <a:extLst>
                <a:ext uri="{FF2B5EF4-FFF2-40B4-BE49-F238E27FC236}">
                  <a16:creationId xmlns:a16="http://schemas.microsoft.com/office/drawing/2014/main" id="{4C643C4A-593E-C60E-734E-5A9E9E898E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526213" y="4987926"/>
              <a:ext cx="1800225" cy="10033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2" name="Picture 15">
              <a:extLst>
                <a:ext uri="{FF2B5EF4-FFF2-40B4-BE49-F238E27FC236}">
                  <a16:creationId xmlns:a16="http://schemas.microsoft.com/office/drawing/2014/main" id="{22E7E6C1-853A-7565-4BDD-9AC9470D4A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476876" y="5432426"/>
              <a:ext cx="604837" cy="13811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23" name="Group 54">
              <a:extLst>
                <a:ext uri="{FF2B5EF4-FFF2-40B4-BE49-F238E27FC236}">
                  <a16:creationId xmlns:a16="http://schemas.microsoft.com/office/drawing/2014/main" id="{E3D903B6-550D-0FEA-AA44-6FCE8D52AB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46750" y="5675313"/>
              <a:ext cx="1025525" cy="387350"/>
              <a:chOff x="5746110" y="5674618"/>
              <a:chExt cx="1025960" cy="387585"/>
            </a:xfrm>
          </p:grpSpPr>
          <p:pic>
            <p:nvPicPr>
              <p:cNvPr id="24" name="Picture 21">
                <a:extLst>
                  <a:ext uri="{FF2B5EF4-FFF2-40B4-BE49-F238E27FC236}">
                    <a16:creationId xmlns:a16="http://schemas.microsoft.com/office/drawing/2014/main" id="{36266302-0F29-C5A1-CB65-8058BFC97F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5746111" y="5674618"/>
                <a:ext cx="1025960" cy="38758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5" name="Picture 22">
                <a:extLst>
                  <a:ext uri="{FF2B5EF4-FFF2-40B4-BE49-F238E27FC236}">
                    <a16:creationId xmlns:a16="http://schemas.microsoft.com/office/drawing/2014/main" id="{4356317B-EC70-EF49-199D-22025CDAAB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5761993" y="5695269"/>
                <a:ext cx="606682" cy="24780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49DD7460-DEFB-9884-3836-9084C14954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297695"/>
              </p:ext>
            </p:extLst>
          </p:nvPr>
        </p:nvGraphicFramePr>
        <p:xfrm>
          <a:off x="1276975" y="3769351"/>
          <a:ext cx="10044961" cy="2465194"/>
        </p:xfrm>
        <a:graphic>
          <a:graphicData uri="http://schemas.openxmlformats.org/drawingml/2006/table">
            <a:tbl>
              <a:tblPr/>
              <a:tblGrid>
                <a:gridCol w="22433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5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0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49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17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26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084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646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581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838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3354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0841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2098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7071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6550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9745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2044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02133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</a:tblGrid>
              <a:tr h="11900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Mod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Common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solidFill>
                            <a:srgbClr val="FFFFFF"/>
                          </a:solidFill>
                          <a:latin typeface="Tele-GroteskNor"/>
                        </a:rPr>
                        <a:t>Used By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0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Jinn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Taste Ki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Nanocrowd</a:t>
                      </a:r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Clerkdogs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Criticker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IMDb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Flixster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Movielens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Netfl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Shazam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Pando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>
                          <a:solidFill>
                            <a:srgbClr val="FFFFFF"/>
                          </a:solidFill>
                          <a:latin typeface="+mn-lt"/>
                        </a:rPr>
                        <a:t>LastF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YooChoose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Think Analytic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 err="1">
                          <a:solidFill>
                            <a:srgbClr val="FFFFFF"/>
                          </a:solidFill>
                          <a:latin typeface="+mn-lt"/>
                        </a:rPr>
                        <a:t>Itunes</a:t>
                      </a:r>
                      <a:endParaRPr lang="en-US" sz="600" b="0" i="0" u="none" strike="noStrike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Amaz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0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Collaborative Filtering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0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Content-Based Techniqu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90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Knowledge-Based Techniqu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Stereotype-Based Recommender Syste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70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 err="1">
                          <a:latin typeface="+mn-lt"/>
                        </a:rPr>
                        <a:t>Ontologies</a:t>
                      </a:r>
                      <a:r>
                        <a:rPr lang="en-US" sz="700" b="1" i="0" u="none" strike="noStrike" baseline="0" dirty="0">
                          <a:latin typeface="+mn-lt"/>
                        </a:rPr>
                        <a:t> and Semantic Web Technologies for Recommender Syste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marL="0" marR="0" lvl="0" indent="0" algn="l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baseline="0" dirty="0">
                          <a:latin typeface="+mn-lt"/>
                        </a:rPr>
                        <a:t>Community Based Recommender Syste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baseline="0" dirty="0" err="1">
                          <a:latin typeface="+mn-lt"/>
                        </a:rPr>
                        <a:t>Demographic</a:t>
                      </a:r>
                      <a:r>
                        <a:rPr lang="fr-FR" sz="700" b="1" i="0" u="none" strike="noStrike" baseline="0" dirty="0">
                          <a:latin typeface="+mn-lt"/>
                        </a:rPr>
                        <a:t> </a:t>
                      </a:r>
                      <a:r>
                        <a:rPr lang="fr-FR" sz="700" b="1" i="0" u="none" strike="noStrike" baseline="0" dirty="0" err="1">
                          <a:latin typeface="+mn-lt"/>
                        </a:rPr>
                        <a:t>Based</a:t>
                      </a:r>
                      <a:r>
                        <a:rPr lang="fr-FR" sz="700" b="1" i="0" u="none" strike="noStrike" baseline="0" dirty="0">
                          <a:latin typeface="+mn-lt"/>
                        </a:rPr>
                        <a:t> </a:t>
                      </a:r>
                      <a:r>
                        <a:rPr lang="fr-FR" sz="700" b="1" i="0" u="none" strike="noStrike" baseline="0" dirty="0" err="1">
                          <a:latin typeface="+mn-lt"/>
                        </a:rPr>
                        <a:t>Recommender</a:t>
                      </a:r>
                      <a:r>
                        <a:rPr lang="fr-FR" sz="700" b="1" i="0" u="none" strike="noStrike" baseline="0" dirty="0">
                          <a:latin typeface="+mn-lt"/>
                        </a:rPr>
                        <a:t> </a:t>
                      </a:r>
                      <a:r>
                        <a:rPr lang="fr-FR" sz="700" b="1" i="0" u="none" strike="noStrike" baseline="0" dirty="0" err="1">
                          <a:latin typeface="+mn-lt"/>
                        </a:rPr>
                        <a:t>Systems</a:t>
                      </a:r>
                      <a:endParaRPr lang="fr-FR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Context Aware Recommender Syste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Conversational/Critiquing Recommender System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8019">
                <a:tc>
                  <a:txBody>
                    <a:bodyPr/>
                    <a:lstStyle/>
                    <a:p>
                      <a:pPr marL="0" marR="0" lvl="0" indent="0" algn="l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u="none" strike="noStrike" baseline="0" dirty="0">
                          <a:latin typeface="+mn-lt"/>
                        </a:rPr>
                        <a:t>Hybrid Techniques</a:t>
                      </a:r>
                    </a:p>
                    <a:p>
                      <a:pPr algn="l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baseline="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baseline="0" dirty="0"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081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ntroduction to recommender systems - Things Solver">
            <a:extLst>
              <a:ext uri="{FF2B5EF4-FFF2-40B4-BE49-F238E27FC236}">
                <a16:creationId xmlns:a16="http://schemas.microsoft.com/office/drawing/2014/main" id="{AE7F9043-B835-DDDB-EB5D-D9BEE8A81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539" y="127438"/>
            <a:ext cx="9833956" cy="5915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ypes of Recommendation Systems &amp; Their Use Cases | by Maruti Techlabs |  MLearning.ai | Medium">
            <a:extLst>
              <a:ext uri="{FF2B5EF4-FFF2-40B4-BE49-F238E27FC236}">
                <a16:creationId xmlns:a16="http://schemas.microsoft.com/office/drawing/2014/main" id="{58D61EFF-C89C-5BBC-6EB3-614BE4AD97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28"/>
          <a:stretch/>
        </p:blipFill>
        <p:spPr bwMode="auto">
          <a:xfrm>
            <a:off x="7977352" y="3289215"/>
            <a:ext cx="3624755" cy="271291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1648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Date Placeholder 3"/>
          <p:cNvSpPr txBox="1">
            <a:spLocks noGrp="1"/>
          </p:cNvSpPr>
          <p:nvPr/>
        </p:nvSpPr>
        <p:spPr bwMode="auto">
          <a:xfrm>
            <a:off x="8793164" y="6602413"/>
            <a:ext cx="809625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2AB6F950-227D-47F5-BB71-FF2AFB976B73}" type="datetime1">
              <a:rPr lang="de-DE" sz="900">
                <a:latin typeface="Arial" charset="0"/>
                <a:cs typeface="Arial" charset="0"/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0.12.2022</a:t>
            </a:fld>
            <a:endParaRPr lang="de-DE" sz="900">
              <a:latin typeface="Arial" charset="0"/>
              <a:cs typeface="Arial" charset="0"/>
            </a:endParaRPr>
          </a:p>
        </p:txBody>
      </p:sp>
      <p:sp>
        <p:nvSpPr>
          <p:cNvPr id="25606" name="Slide Number Placeholder 36"/>
          <p:cNvSpPr>
            <a:spLocks noGrp="1"/>
          </p:cNvSpPr>
          <p:nvPr>
            <p:ph type="sldNum" sz="quarter" idx="4294967295"/>
          </p:nvPr>
        </p:nvSpPr>
        <p:spPr>
          <a:xfrm>
            <a:off x="9825038" y="6602413"/>
            <a:ext cx="539750" cy="1444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/>
            <a:fld id="{18E7CAF1-60C5-41AC-9A83-FD810DD05EBF}" type="slidenum">
              <a:rPr lang="he-IL" sz="900">
                <a:latin typeface="Arial" charset="0"/>
                <a:cs typeface="Arial" charset="0"/>
              </a:rPr>
              <a:pPr eaLnBrk="1" hangingPunct="1"/>
              <a:t>9</a:t>
            </a:fld>
            <a:endParaRPr lang="de-DE" sz="900">
              <a:latin typeface="Arial" charset="0"/>
              <a:cs typeface="Arial" charset="0"/>
            </a:endParaRPr>
          </a:p>
        </p:txBody>
      </p:sp>
      <p:sp>
        <p:nvSpPr>
          <p:cNvPr id="25608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29441" y="1371169"/>
            <a:ext cx="8532813" cy="445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 eaLnBrk="0" hangingPunct="0">
              <a:spcBef>
                <a:spcPct val="0"/>
              </a:spcBef>
              <a:buClrTx/>
              <a:buSzTx/>
            </a:pPr>
            <a:r>
              <a:rPr lang="en-US" dirty="0"/>
              <a:t>Collaborative Filtering Techniques</a:t>
            </a:r>
          </a:p>
        </p:txBody>
      </p:sp>
      <p:sp>
        <p:nvSpPr>
          <p:cNvPr id="38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28800" y="2038354"/>
            <a:ext cx="8371656" cy="3913180"/>
          </a:xfrm>
          <a:prstGeom prst="roundRect">
            <a:avLst>
              <a:gd name="adj" fmla="val 4685"/>
            </a:avLst>
          </a:prstGeom>
          <a:noFill/>
          <a:ln w="9525">
            <a:solidFill>
              <a:srgbClr val="DEDEDE"/>
            </a:solidFill>
            <a:round/>
            <a:headEnd/>
            <a:tailEnd/>
          </a:ln>
        </p:spPr>
        <p:txBody>
          <a:bodyPr anchor="ctr"/>
          <a:lstStyle/>
          <a:p>
            <a:pPr marL="361950" indent="-180975">
              <a:spcBef>
                <a:spcPct val="0"/>
              </a:spcBef>
              <a:spcAft>
                <a:spcPct val="30000"/>
              </a:spcAft>
              <a:buFont typeface="Wingdings" pitchFamily="2" charset="2"/>
              <a:buChar char="§"/>
            </a:pPr>
            <a:r>
              <a:rPr lang="en-US" dirty="0">
                <a:cs typeface="Arial" charset="0"/>
              </a:rPr>
              <a:t>Nearest Neighbor </a:t>
            </a:r>
          </a:p>
          <a:p>
            <a:pPr marL="361950" indent="-180975">
              <a:spcBef>
                <a:spcPct val="0"/>
              </a:spcBef>
              <a:spcAft>
                <a:spcPct val="30000"/>
              </a:spcAft>
              <a:buFont typeface="Wingdings" pitchFamily="2" charset="2"/>
              <a:buChar char="§"/>
            </a:pPr>
            <a:endParaRPr lang="en-US" dirty="0">
              <a:cs typeface="Arial" charset="0"/>
            </a:endParaRPr>
          </a:p>
          <a:p>
            <a:pPr marL="361950" indent="-180975">
              <a:spcBef>
                <a:spcPct val="0"/>
              </a:spcBef>
              <a:spcAft>
                <a:spcPct val="30000"/>
              </a:spcAft>
              <a:buFont typeface="Wingdings" pitchFamily="2" charset="2"/>
              <a:buChar char="§"/>
            </a:pPr>
            <a:r>
              <a:rPr lang="en-US" dirty="0">
                <a:cs typeface="Arial" charset="0"/>
              </a:rPr>
              <a:t>Matrix Factorization</a:t>
            </a:r>
          </a:p>
          <a:p>
            <a:pPr marL="361950" indent="-180975">
              <a:spcBef>
                <a:spcPct val="0"/>
              </a:spcBef>
              <a:spcAft>
                <a:spcPct val="30000"/>
              </a:spcAft>
              <a:buFont typeface="Wingdings" pitchFamily="2" charset="2"/>
              <a:buChar char="§"/>
            </a:pPr>
            <a:endParaRPr lang="en-US" dirty="0">
              <a:cs typeface="Arial" charset="0"/>
            </a:endParaRPr>
          </a:p>
          <a:p>
            <a:pPr marL="361950" indent="-180975">
              <a:spcBef>
                <a:spcPct val="0"/>
              </a:spcBef>
              <a:spcAft>
                <a:spcPct val="30000"/>
              </a:spcAft>
              <a:buFont typeface="Wingdings" pitchFamily="2" charset="2"/>
              <a:buChar char="§"/>
            </a:pPr>
            <a:r>
              <a:rPr lang="en-US" dirty="0">
                <a:cs typeface="Arial" charset="0"/>
              </a:rPr>
              <a:t>Deep Learning</a:t>
            </a:r>
          </a:p>
        </p:txBody>
      </p:sp>
      <p:pic>
        <p:nvPicPr>
          <p:cNvPr id="8194" name="Picture 2" descr="Image result for nearest neighbor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3993" y="2060848"/>
            <a:ext cx="2240467" cy="1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Image result for matrix factoriza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3368372"/>
            <a:ext cx="2232248" cy="877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Image result for neural network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817" y="412890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90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Lp4gObK0O9VY1Uf3Xb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67rYw.UugUfipWMDi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RQgl74EGcKRBFydp9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Xs2nClAECP.qd43DPd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t2UoYx0OwzlkaA.hx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NN3nXRO0qmKeIxzw09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ZcXvJEsUOY76co6I.m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Pjtlcdki_aGNXRsVj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67rYw.UugUfipWMD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RQgl74EGcKRBFydp9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Xs2nClAECP.qd43DP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k.C0uwKkW83pJDj5Gw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t2UoYx0OwzlkaA.hx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NN3nXRO0qmKeIxzw09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ZcXvJEsUOY76co6I.m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Pjtlcdki_aGNXRsVj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67rYw.UugUfipWMDi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RQgl74EGcKRBFydp9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Xs2nClAECP.qd43DPd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t2UoYx0OwzlkaA.hx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NN3nXRO0qmKeIxzw09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ZcXvJEsUOY76co6I.m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67rYw.UugUfipWMDi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Pjtlcdki_aGNXRsVj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67rYw.UugUfipWMDi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RQgl74EGcKRBFydp9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Xs2nClAECP.qd43DPd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t2UoYx0OwzlkaA.hx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NN3nXRO0qmKeIxzw09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ZcXvJEsUOY76co6I.m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Pjtlcdki_aGNXRsVj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RQgl74EGcKRBFydp9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Xs2nClAECP.qd43DPd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t2UoYx0OwzlkaA.hx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NN3nXRO0qmKeIxzw09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ZcXvJEsUOY76co6I.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Pjtlcdki_aGNXRsVj9w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8bb759f6-5337-4dc5-b19b-e74b6da11f8f}" enabled="1" method="Standard" siteId="{41ff26dc-250f-4b13-8981-739be8610c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633</TotalTime>
  <Words>1184</Words>
  <Application>Microsoft Office PowerPoint</Application>
  <PresentationFormat>Widescreen</PresentationFormat>
  <Paragraphs>343</Paragraphs>
  <Slides>21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masis MT Pro Black</vt:lpstr>
      <vt:lpstr>Arial</vt:lpstr>
      <vt:lpstr>Calibri</vt:lpstr>
      <vt:lpstr>Calibri Light</vt:lpstr>
      <vt:lpstr>Comic Sans MS</vt:lpstr>
      <vt:lpstr>Helvetica</vt:lpstr>
      <vt:lpstr>Tele-GroteskNor</vt:lpstr>
      <vt:lpstr>Tele-GroteskUlt</vt:lpstr>
      <vt:lpstr>Times New Roman</vt:lpstr>
      <vt:lpstr>Verdana</vt:lpstr>
      <vt:lpstr>Wingdings</vt:lpstr>
      <vt:lpstr>Retrospect</vt:lpstr>
      <vt:lpstr>Equation</vt:lpstr>
      <vt:lpstr>Recommender Systems</vt:lpstr>
      <vt:lpstr>Malaysia AI</vt:lpstr>
      <vt:lpstr>PowerPoint Presentation</vt:lpstr>
      <vt:lpstr>The Impact of Recommender System</vt:lpstr>
      <vt:lpstr>Recommender System Overview</vt:lpstr>
      <vt:lpstr>Recommender System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llaborative Filtering</vt:lpstr>
      <vt:lpstr>PowerPoint Presentation</vt:lpstr>
      <vt:lpstr>PowerPoint Presentation</vt:lpstr>
      <vt:lpstr>Collaborative Filtering Method</vt:lpstr>
      <vt:lpstr>PowerPoint Presentation</vt:lpstr>
      <vt:lpstr>Similarity Weighting</vt:lpstr>
      <vt:lpstr>Covariance and Standard Deviation</vt:lpstr>
      <vt:lpstr>Problems with Collaborative Filtering</vt:lpstr>
      <vt:lpstr>Referenc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rendran S Selvaraju</dc:creator>
  <cp:lastModifiedBy>Surendran S Selvaraju</cp:lastModifiedBy>
  <cp:revision>1</cp:revision>
  <dcterms:created xsi:type="dcterms:W3CDTF">2022-12-03T04:46:06Z</dcterms:created>
  <dcterms:modified xsi:type="dcterms:W3CDTF">2022-12-09T23:2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SLB-Private</vt:lpwstr>
  </property>
</Properties>
</file>